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5.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0.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2.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5"/>
  </p:notesMasterIdLst>
  <p:handoutMasterIdLst>
    <p:handoutMasterId r:id="rId26"/>
  </p:handoutMasterIdLst>
  <p:sldIdLst>
    <p:sldId id="384" r:id="rId2"/>
    <p:sldId id="4983" r:id="rId3"/>
    <p:sldId id="385" r:id="rId4"/>
    <p:sldId id="5020" r:id="rId5"/>
    <p:sldId id="5027" r:id="rId6"/>
    <p:sldId id="5013" r:id="rId7"/>
    <p:sldId id="4998" r:id="rId8"/>
    <p:sldId id="5028" r:id="rId9"/>
    <p:sldId id="5023" r:id="rId10"/>
    <p:sldId id="5024" r:id="rId11"/>
    <p:sldId id="5026" r:id="rId12"/>
    <p:sldId id="5025" r:id="rId13"/>
    <p:sldId id="392" r:id="rId14"/>
    <p:sldId id="5019" r:id="rId15"/>
    <p:sldId id="4985" r:id="rId16"/>
    <p:sldId id="5014" r:id="rId17"/>
    <p:sldId id="5018" r:id="rId18"/>
    <p:sldId id="261" r:id="rId19"/>
    <p:sldId id="4991" r:id="rId20"/>
    <p:sldId id="5010" r:id="rId21"/>
    <p:sldId id="396" r:id="rId22"/>
    <p:sldId id="401" r:id="rId23"/>
    <p:sldId id="5011"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4983"/>
            <p14:sldId id="385"/>
            <p14:sldId id="5020"/>
            <p14:sldId id="5027"/>
            <p14:sldId id="5013"/>
            <p14:sldId id="4998"/>
            <p14:sldId id="5028"/>
            <p14:sldId id="5023"/>
            <p14:sldId id="5024"/>
            <p14:sldId id="5026"/>
            <p14:sldId id="5025"/>
            <p14:sldId id="392"/>
            <p14:sldId id="5019"/>
            <p14:sldId id="4985"/>
            <p14:sldId id="5014"/>
            <p14:sldId id="5018"/>
            <p14:sldId id="261"/>
            <p14:sldId id="4991"/>
            <p14:sldId id="5010"/>
            <p14:sldId id="396"/>
            <p14:sldId id="401"/>
            <p14:sldId id="50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initials="BC(" userId="S::Chantal.Bemeur@tpsgc-pwgsc.gc.ca::97d9d3ea-19b5-4147-b2f7-c6eb9c5930c3" providerId="AD"/>
  <p188:author id="{617F8A1F-6738-84AE-A7AD-BF406039386C}" name="Rickey Haley-Colpitts" initials="RH" userId="S::Rickey.Haley-Colpitts@bgis.com::d450c491-4712-4c27-9f1d-d9034ee29bdf" providerId="AD"/>
  <p188:author id="{B82E8466-83BB-6317-73B9-A51F2FE0BC10}" name="Pare, Carine (SPAC/PSPC)" initials="PC(" userId="S::Carine.Pare@tpsgc-pwgsc.gc.ca::71f88b2f-db4c-4269-9577-1025f7fc6543" providerId="AD"/>
  <p188:author id="{685D0F8D-5798-DA56-B0ED-0D6E00F4CB73}" name="Dion3, Alain (SPAC/PSPC)" initials="DA(" userId="S::alain.dion3@tpsgc-pwgsc.gc.ca::b5972ad0-fee1-4393-9fd4-8bc589782ac7"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F2A920"/>
    <a:srgbClr val="C0DFEF"/>
    <a:srgbClr val="6D6E71"/>
    <a:srgbClr val="FCEED2"/>
    <a:srgbClr val="000000"/>
    <a:srgbClr val="8B8B8B"/>
    <a:srgbClr val="888888"/>
    <a:srgbClr val="898989"/>
    <a:srgbClr val="A8CF7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C01E3A-CCA7-4109-9D87-E7DE28CE6ABA}" v="16" dt="2024-10-31T13:51:40.7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32" autoAdjust="0"/>
    <p:restoredTop sz="82562" autoAdjust="0"/>
  </p:normalViewPr>
  <p:slideViewPr>
    <p:cSldViewPr snapToGrid="0" snapToObjects="1">
      <p:cViewPr varScale="1">
        <p:scale>
          <a:sx n="70" d="100"/>
          <a:sy n="70" d="100"/>
        </p:scale>
        <p:origin x="1234" y="48"/>
      </p:cViewPr>
      <p:guideLst/>
    </p:cSldViewPr>
  </p:slideViewPr>
  <p:outlineViewPr>
    <p:cViewPr>
      <p:scale>
        <a:sx n="33" d="100"/>
        <a:sy n="33" d="100"/>
      </p:scale>
      <p:origin x="0" y="-1476"/>
    </p:cViewPr>
  </p:outlin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86" d="100"/>
          <a:sy n="86" d="100"/>
        </p:scale>
        <p:origin x="386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e10f0e9c-c03f-4fde-9113-11216b420c44" providerId="ADAL" clId="{46F057F1-27C1-40A1-8A99-FE31E2DB9853}"/>
    <pc:docChg chg="addSld delSld modSld modSection">
      <pc:chgData name="Elgee, Jeffrey (SPAC/PSPC)" userId="e10f0e9c-c03f-4fde-9113-11216b420c44" providerId="ADAL" clId="{46F057F1-27C1-40A1-8A99-FE31E2DB9853}" dt="2024-06-04T18:40:19.578" v="35" actId="20577"/>
      <pc:docMkLst>
        <pc:docMk/>
      </pc:docMkLst>
      <pc:sldChg chg="modSp mod">
        <pc:chgData name="Elgee, Jeffrey (SPAC/PSPC)" userId="e10f0e9c-c03f-4fde-9113-11216b420c44" providerId="ADAL" clId="{46F057F1-27C1-40A1-8A99-FE31E2DB9853}" dt="2024-06-04T18:40:19.578" v="35" actId="20577"/>
        <pc:sldMkLst>
          <pc:docMk/>
          <pc:sldMk cId="2077896438" sldId="387"/>
        </pc:sldMkLst>
        <pc:spChg chg="mod">
          <ac:chgData name="Elgee, Jeffrey (SPAC/PSPC)" userId="e10f0e9c-c03f-4fde-9113-11216b420c44" providerId="ADAL" clId="{46F057F1-27C1-40A1-8A99-FE31E2DB9853}" dt="2024-06-04T18:32:58.357" v="19" actId="20577"/>
          <ac:spMkLst>
            <pc:docMk/>
            <pc:sldMk cId="2077896438" sldId="387"/>
            <ac:spMk id="2" creationId="{530A314D-74C9-43F8-A8C5-E61B4C92159E}"/>
          </ac:spMkLst>
        </pc:spChg>
        <pc:spChg chg="mod">
          <ac:chgData name="Elgee, Jeffrey (SPAC/PSPC)" userId="e10f0e9c-c03f-4fde-9113-11216b420c44" providerId="ADAL" clId="{46F057F1-27C1-40A1-8A99-FE31E2DB9853}" dt="2024-06-04T18:40:19.578" v="35" actId="20577"/>
          <ac:spMkLst>
            <pc:docMk/>
            <pc:sldMk cId="2077896438" sldId="387"/>
            <ac:spMk id="5" creationId="{C1D81310-6166-4605-A7EB-ECE2608BB2C5}"/>
          </ac:spMkLst>
        </pc:spChg>
      </pc:sldChg>
      <pc:sldChg chg="del">
        <pc:chgData name="Elgee, Jeffrey (SPAC/PSPC)" userId="e10f0e9c-c03f-4fde-9113-11216b420c44" providerId="ADAL" clId="{46F057F1-27C1-40A1-8A99-FE31E2DB9853}" dt="2024-06-04T18:32:34.640" v="3" actId="47"/>
        <pc:sldMkLst>
          <pc:docMk/>
          <pc:sldMk cId="2222960284" sldId="388"/>
        </pc:sldMkLst>
      </pc:sldChg>
      <pc:sldChg chg="modSp mod">
        <pc:chgData name="Elgee, Jeffrey (SPAC/PSPC)" userId="e10f0e9c-c03f-4fde-9113-11216b420c44" providerId="ADAL" clId="{46F057F1-27C1-40A1-8A99-FE31E2DB9853}" dt="2024-06-04T18:28:52.409" v="1" actId="1076"/>
        <pc:sldMkLst>
          <pc:docMk/>
          <pc:sldMk cId="986189170" sldId="393"/>
        </pc:sldMkLst>
        <pc:grpChg chg="mod">
          <ac:chgData name="Elgee, Jeffrey (SPAC/PSPC)" userId="e10f0e9c-c03f-4fde-9113-11216b420c44" providerId="ADAL" clId="{46F057F1-27C1-40A1-8A99-FE31E2DB9853}" dt="2024-06-04T18:28:52.409" v="1" actId="1076"/>
          <ac:grpSpMkLst>
            <pc:docMk/>
            <pc:sldMk cId="986189170" sldId="393"/>
            <ac:grpSpMk id="39" creationId="{C2191868-CCF5-4452-B018-92CA700DC7A2}"/>
          </ac:grpSpMkLst>
        </pc:grpChg>
      </pc:sldChg>
      <pc:sldChg chg="add">
        <pc:chgData name="Elgee, Jeffrey (SPAC/PSPC)" userId="e10f0e9c-c03f-4fde-9113-11216b420c44" providerId="ADAL" clId="{46F057F1-27C1-40A1-8A99-FE31E2DB9853}" dt="2024-06-04T18:32:31.116" v="2"/>
        <pc:sldMkLst>
          <pc:docMk/>
          <pc:sldMk cId="625183133" sldId="4986"/>
        </pc:sldMkLst>
      </pc:sldChg>
      <pc:sldChg chg="add">
        <pc:chgData name="Elgee, Jeffrey (SPAC/PSPC)" userId="e10f0e9c-c03f-4fde-9113-11216b420c44" providerId="ADAL" clId="{46F057F1-27C1-40A1-8A99-FE31E2DB9853}" dt="2024-06-04T18:32:31.116" v="2"/>
        <pc:sldMkLst>
          <pc:docMk/>
          <pc:sldMk cId="581567723" sldId="4998"/>
        </pc:sldMkLst>
      </pc:sldChg>
    </pc:docChg>
  </pc:docChgLst>
  <pc:docChgLst>
    <pc:chgData name="Dion3, Alain (SPAC/PSPC) (il-lui / he-him)" userId="b5972ad0-fee1-4393-9fd4-8bc589782ac7" providerId="ADAL" clId="{69C01E3A-CCA7-4109-9D87-E7DE28CE6ABA}"/>
    <pc:docChg chg="undo custSel addSld delSld modSld modMainMaster modSection">
      <pc:chgData name="Dion3, Alain (SPAC/PSPC) (il-lui / he-him)" userId="b5972ad0-fee1-4393-9fd4-8bc589782ac7" providerId="ADAL" clId="{69C01E3A-CCA7-4109-9D87-E7DE28CE6ABA}" dt="2024-10-31T14:44:07.682" v="2349" actId="20577"/>
      <pc:docMkLst>
        <pc:docMk/>
      </pc:docMkLst>
      <pc:sldChg chg="modSp mod modNotesTx">
        <pc:chgData name="Dion3, Alain (SPAC/PSPC) (il-lui / he-him)" userId="b5972ad0-fee1-4393-9fd4-8bc589782ac7" providerId="ADAL" clId="{69C01E3A-CCA7-4109-9D87-E7DE28CE6ABA}" dt="2024-10-31T13:49:32.764" v="1265" actId="790"/>
        <pc:sldMkLst>
          <pc:docMk/>
          <pc:sldMk cId="1875387166" sldId="261"/>
        </pc:sldMkLst>
        <pc:spChg chg="mod replST">
          <ac:chgData name="Dion3, Alain (SPAC/PSPC) (il-lui / he-him)" userId="b5972ad0-fee1-4393-9fd4-8bc589782ac7" providerId="ADAL" clId="{69C01E3A-CCA7-4109-9D87-E7DE28CE6ABA}" dt="2024-10-31T13:47:51.076" v="1247" actId="790"/>
          <ac:spMkLst>
            <pc:docMk/>
            <pc:sldMk cId="1875387166" sldId="261"/>
            <ac:spMk id="7" creationId="{0E5312BC-D894-4EF1-B411-739DA565E3FB}"/>
          </ac:spMkLst>
        </pc:spChg>
        <pc:spChg chg="mod">
          <ac:chgData name="Dion3, Alain (SPAC/PSPC) (il-lui / he-him)" userId="b5972ad0-fee1-4393-9fd4-8bc589782ac7" providerId="ADAL" clId="{69C01E3A-CCA7-4109-9D87-E7DE28CE6ABA}" dt="2024-10-31T13:47:51.076" v="1247" actId="790"/>
          <ac:spMkLst>
            <pc:docMk/>
            <pc:sldMk cId="1875387166" sldId="261"/>
            <ac:spMk id="8" creationId="{1F0873E0-DC4B-6171-4693-C1E51DF9C471}"/>
          </ac:spMkLst>
        </pc:spChg>
        <pc:spChg chg="mod">
          <ac:chgData name="Dion3, Alain (SPAC/PSPC) (il-lui / he-him)" userId="b5972ad0-fee1-4393-9fd4-8bc589782ac7" providerId="ADAL" clId="{69C01E3A-CCA7-4109-9D87-E7DE28CE6ABA}" dt="2024-10-31T13:47:51.076" v="1247" actId="790"/>
          <ac:spMkLst>
            <pc:docMk/>
            <pc:sldMk cId="1875387166" sldId="261"/>
            <ac:spMk id="9" creationId="{E092A97F-6BBD-D593-43B1-26BA24C314F5}"/>
          </ac:spMkLst>
        </pc:spChg>
        <pc:spChg chg="mod">
          <ac:chgData name="Dion3, Alain (SPAC/PSPC) (il-lui / he-him)" userId="b5972ad0-fee1-4393-9fd4-8bc589782ac7" providerId="ADAL" clId="{69C01E3A-CCA7-4109-9D87-E7DE28CE6ABA}" dt="2024-10-31T13:47:51.076" v="1247" actId="790"/>
          <ac:spMkLst>
            <pc:docMk/>
            <pc:sldMk cId="1875387166" sldId="261"/>
            <ac:spMk id="11" creationId="{162386C6-35D4-3836-810E-12B51D5EF5E0}"/>
          </ac:spMkLst>
        </pc:spChg>
        <pc:spChg chg="mod">
          <ac:chgData name="Dion3, Alain (SPAC/PSPC) (il-lui / he-him)" userId="b5972ad0-fee1-4393-9fd4-8bc589782ac7" providerId="ADAL" clId="{69C01E3A-CCA7-4109-9D87-E7DE28CE6ABA}" dt="2024-10-31T13:47:51.076" v="1247" actId="790"/>
          <ac:spMkLst>
            <pc:docMk/>
            <pc:sldMk cId="1875387166" sldId="261"/>
            <ac:spMk id="12" creationId="{45F2B587-8419-A02F-3516-DD90BF6ECCBD}"/>
          </ac:spMkLst>
        </pc:spChg>
        <pc:spChg chg="mod">
          <ac:chgData name="Dion3, Alain (SPAC/PSPC) (il-lui / he-him)" userId="b5972ad0-fee1-4393-9fd4-8bc589782ac7" providerId="ADAL" clId="{69C01E3A-CCA7-4109-9D87-E7DE28CE6ABA}" dt="2024-10-31T13:47:51.076" v="1247" actId="790"/>
          <ac:spMkLst>
            <pc:docMk/>
            <pc:sldMk cId="1875387166" sldId="261"/>
            <ac:spMk id="13" creationId="{1904F2FF-0EAF-FC3F-524E-41A2AE222B75}"/>
          </ac:spMkLst>
        </pc:spChg>
        <pc:spChg chg="mod">
          <ac:chgData name="Dion3, Alain (SPAC/PSPC) (il-lui / he-him)" userId="b5972ad0-fee1-4393-9fd4-8bc589782ac7" providerId="ADAL" clId="{69C01E3A-CCA7-4109-9D87-E7DE28CE6ABA}" dt="2024-10-31T13:47:51.076" v="1247" actId="790"/>
          <ac:spMkLst>
            <pc:docMk/>
            <pc:sldMk cId="1875387166" sldId="261"/>
            <ac:spMk id="14" creationId="{E654B4EB-FE97-5DE0-C53C-606F64225C4F}"/>
          </ac:spMkLst>
        </pc:spChg>
        <pc:spChg chg="mod">
          <ac:chgData name="Dion3, Alain (SPAC/PSPC) (il-lui / he-him)" userId="b5972ad0-fee1-4393-9fd4-8bc589782ac7" providerId="ADAL" clId="{69C01E3A-CCA7-4109-9D87-E7DE28CE6ABA}" dt="2024-10-31T13:47:51.076" v="1247" actId="790"/>
          <ac:spMkLst>
            <pc:docMk/>
            <pc:sldMk cId="1875387166" sldId="261"/>
            <ac:spMk id="15" creationId="{AA1D958F-4834-BA1F-DC7C-01EB58A22803}"/>
          </ac:spMkLst>
        </pc:spChg>
        <pc:spChg chg="mod">
          <ac:chgData name="Dion3, Alain (SPAC/PSPC) (il-lui / he-him)" userId="b5972ad0-fee1-4393-9fd4-8bc589782ac7" providerId="ADAL" clId="{69C01E3A-CCA7-4109-9D87-E7DE28CE6ABA}" dt="2024-10-31T13:47:51.076" v="1247" actId="790"/>
          <ac:spMkLst>
            <pc:docMk/>
            <pc:sldMk cId="1875387166" sldId="261"/>
            <ac:spMk id="16" creationId="{343B3274-D054-EC37-0744-050767ACF9E6}"/>
          </ac:spMkLst>
        </pc:spChg>
        <pc:spChg chg="mod">
          <ac:chgData name="Dion3, Alain (SPAC/PSPC) (il-lui / he-him)" userId="b5972ad0-fee1-4393-9fd4-8bc589782ac7" providerId="ADAL" clId="{69C01E3A-CCA7-4109-9D87-E7DE28CE6ABA}" dt="2024-10-31T13:47:51.076" v="1247" actId="790"/>
          <ac:spMkLst>
            <pc:docMk/>
            <pc:sldMk cId="1875387166" sldId="261"/>
            <ac:spMk id="17" creationId="{AC206013-C5B9-7CD1-CCB5-485DDFA6F240}"/>
          </ac:spMkLst>
        </pc:spChg>
        <pc:spChg chg="mod">
          <ac:chgData name="Dion3, Alain (SPAC/PSPC) (il-lui / he-him)" userId="b5972ad0-fee1-4393-9fd4-8bc589782ac7" providerId="ADAL" clId="{69C01E3A-CCA7-4109-9D87-E7DE28CE6ABA}" dt="2024-10-31T13:47:51.076" v="1247" actId="790"/>
          <ac:spMkLst>
            <pc:docMk/>
            <pc:sldMk cId="1875387166" sldId="261"/>
            <ac:spMk id="18" creationId="{E0E1ECE0-E469-4593-6848-2D2173EB20B3}"/>
          </ac:spMkLst>
        </pc:spChg>
        <pc:spChg chg="mod">
          <ac:chgData name="Dion3, Alain (SPAC/PSPC) (il-lui / he-him)" userId="b5972ad0-fee1-4393-9fd4-8bc589782ac7" providerId="ADAL" clId="{69C01E3A-CCA7-4109-9D87-E7DE28CE6ABA}" dt="2024-10-31T13:47:51.076" v="1247" actId="790"/>
          <ac:spMkLst>
            <pc:docMk/>
            <pc:sldMk cId="1875387166" sldId="261"/>
            <ac:spMk id="19" creationId="{2E9B8A09-5D37-B323-8F96-00B1D0F2FBC1}"/>
          </ac:spMkLst>
        </pc:spChg>
        <pc:spChg chg="mod">
          <ac:chgData name="Dion3, Alain (SPAC/PSPC) (il-lui / he-him)" userId="b5972ad0-fee1-4393-9fd4-8bc589782ac7" providerId="ADAL" clId="{69C01E3A-CCA7-4109-9D87-E7DE28CE6ABA}" dt="2024-10-31T13:47:51.076" v="1247" actId="790"/>
          <ac:spMkLst>
            <pc:docMk/>
            <pc:sldMk cId="1875387166" sldId="261"/>
            <ac:spMk id="20" creationId="{6C2CCEC5-C814-DA4C-4299-DAAF18035FDF}"/>
          </ac:spMkLst>
        </pc:spChg>
        <pc:spChg chg="mod">
          <ac:chgData name="Dion3, Alain (SPAC/PSPC) (il-lui / he-him)" userId="b5972ad0-fee1-4393-9fd4-8bc589782ac7" providerId="ADAL" clId="{69C01E3A-CCA7-4109-9D87-E7DE28CE6ABA}" dt="2024-10-31T13:47:51.076" v="1247" actId="790"/>
          <ac:spMkLst>
            <pc:docMk/>
            <pc:sldMk cId="1875387166" sldId="261"/>
            <ac:spMk id="21" creationId="{39D89171-095E-D00E-BE7D-F3608D8FC3BA}"/>
          </ac:spMkLst>
        </pc:spChg>
        <pc:spChg chg="mod">
          <ac:chgData name="Dion3, Alain (SPAC/PSPC) (il-lui / he-him)" userId="b5972ad0-fee1-4393-9fd4-8bc589782ac7" providerId="ADAL" clId="{69C01E3A-CCA7-4109-9D87-E7DE28CE6ABA}" dt="2024-10-31T13:47:51.076" v="1247" actId="790"/>
          <ac:spMkLst>
            <pc:docMk/>
            <pc:sldMk cId="1875387166" sldId="261"/>
            <ac:spMk id="22" creationId="{4834B9B0-A158-0FB7-2D57-FFE6E20CBDA5}"/>
          </ac:spMkLst>
        </pc:spChg>
        <pc:spChg chg="mod">
          <ac:chgData name="Dion3, Alain (SPAC/PSPC) (il-lui / he-him)" userId="b5972ad0-fee1-4393-9fd4-8bc589782ac7" providerId="ADAL" clId="{69C01E3A-CCA7-4109-9D87-E7DE28CE6ABA}" dt="2024-10-31T13:47:51.076" v="1247" actId="790"/>
          <ac:spMkLst>
            <pc:docMk/>
            <pc:sldMk cId="1875387166" sldId="261"/>
            <ac:spMk id="23" creationId="{307F8D4E-8D58-3325-89C1-1313363FAFE1}"/>
          </ac:spMkLst>
        </pc:spChg>
        <pc:grpChg chg="replST">
          <ac:chgData name="Dion3, Alain (SPAC/PSPC) (il-lui / he-him)" userId="b5972ad0-fee1-4393-9fd4-8bc589782ac7" providerId="ADAL" clId="{69C01E3A-CCA7-4109-9D87-E7DE28CE6ABA}" dt="2024-10-30T17:25:32.059" v="295"/>
          <ac:grpSpMkLst>
            <pc:docMk/>
            <pc:sldMk cId="1875387166" sldId="261"/>
            <ac:grpSpMk id="4" creationId="{7D098EE0-3BFA-C18D-21C7-104B50FD7762}"/>
          </ac:grpSpMkLst>
        </pc:grpChg>
      </pc:sldChg>
      <pc:sldChg chg="addSp modSp mod setBg">
        <pc:chgData name="Dion3, Alain (SPAC/PSPC) (il-lui / he-him)" userId="b5972ad0-fee1-4393-9fd4-8bc589782ac7" providerId="ADAL" clId="{69C01E3A-CCA7-4109-9D87-E7DE28CE6ABA}" dt="2024-10-30T17:25:31.055" v="164"/>
        <pc:sldMkLst>
          <pc:docMk/>
          <pc:sldMk cId="1739606208" sldId="384"/>
        </pc:sldMkLst>
        <pc:spChg chg="mod replST">
          <ac:chgData name="Dion3, Alain (SPAC/PSPC) (il-lui / he-him)" userId="b5972ad0-fee1-4393-9fd4-8bc589782ac7" providerId="ADAL" clId="{69C01E3A-CCA7-4109-9D87-E7DE28CE6ABA}" dt="2024-10-30T17:25:31.010" v="158"/>
          <ac:spMkLst>
            <pc:docMk/>
            <pc:sldMk cId="1739606208" sldId="384"/>
            <ac:spMk id="2" creationId="{00000000-0000-0000-0000-000000000000}"/>
          </ac:spMkLst>
        </pc:spChg>
        <pc:spChg chg="mod replST">
          <ac:chgData name="Dion3, Alain (SPAC/PSPC) (il-lui / he-him)" userId="b5972ad0-fee1-4393-9fd4-8bc589782ac7" providerId="ADAL" clId="{69C01E3A-CCA7-4109-9D87-E7DE28CE6ABA}" dt="2024-10-30T17:25:31.019" v="159"/>
          <ac:spMkLst>
            <pc:docMk/>
            <pc:sldMk cId="1739606208" sldId="384"/>
            <ac:spMk id="3" creationId="{00000000-0000-0000-0000-000000000000}"/>
          </ac:spMkLst>
        </pc:spChg>
        <pc:spChg chg="mod replST">
          <ac:chgData name="Dion3, Alain (SPAC/PSPC) (il-lui / he-him)" userId="b5972ad0-fee1-4393-9fd4-8bc589782ac7" providerId="ADAL" clId="{69C01E3A-CCA7-4109-9D87-E7DE28CE6ABA}" dt="2024-10-30T17:25:31.025" v="160"/>
          <ac:spMkLst>
            <pc:docMk/>
            <pc:sldMk cId="1739606208" sldId="384"/>
            <ac:spMk id="7" creationId="{00000000-0000-0000-0000-000000000000}"/>
          </ac:spMkLst>
        </pc:spChg>
        <pc:spChg chg="mod replST">
          <ac:chgData name="Dion3, Alain (SPAC/PSPC) (il-lui / he-him)" userId="b5972ad0-fee1-4393-9fd4-8bc589782ac7" providerId="ADAL" clId="{69C01E3A-CCA7-4109-9D87-E7DE28CE6ABA}" dt="2024-10-30T17:25:31.002" v="157"/>
          <ac:spMkLst>
            <pc:docMk/>
            <pc:sldMk cId="1739606208" sldId="384"/>
            <ac:spMk id="8" creationId="{00000000-0000-0000-0000-000000000000}"/>
          </ac:spMkLst>
        </pc:spChg>
        <pc:spChg chg="mod replST">
          <ac:chgData name="Dion3, Alain (SPAC/PSPC) (il-lui / he-him)" userId="b5972ad0-fee1-4393-9fd4-8bc589782ac7" providerId="ADAL" clId="{69C01E3A-CCA7-4109-9D87-E7DE28CE6ABA}" dt="2024-10-30T17:25:31.031" v="161"/>
          <ac:spMkLst>
            <pc:docMk/>
            <pc:sldMk cId="1739606208" sldId="384"/>
            <ac:spMk id="9" creationId="{00000000-0000-0000-0000-000000000000}"/>
          </ac:spMkLst>
        </pc:spChg>
        <pc:grpChg chg="add mod replST">
          <ac:chgData name="Dion3, Alain (SPAC/PSPC) (il-lui / he-him)" userId="b5972ad0-fee1-4393-9fd4-8bc589782ac7" providerId="ADAL" clId="{69C01E3A-CCA7-4109-9D87-E7DE28CE6ABA}" dt="2024-10-30T17:25:31.055" v="164"/>
          <ac:grpSpMkLst>
            <pc:docMk/>
            <pc:sldMk cId="1739606208" sldId="384"/>
            <ac:grpSpMk id="5" creationId="{B5D0BBF6-5584-E5C7-F432-49F1ECB7FCB8}"/>
          </ac:grpSpMkLst>
        </pc:grpChg>
        <pc:graphicFrameChg chg="replST">
          <ac:chgData name="Dion3, Alain (SPAC/PSPC) (il-lui / he-him)" userId="b5972ad0-fee1-4393-9fd4-8bc589782ac7" providerId="ADAL" clId="{69C01E3A-CCA7-4109-9D87-E7DE28CE6ABA}" dt="2024-10-30T17:25:30.994" v="156"/>
          <ac:graphicFrameMkLst>
            <pc:docMk/>
            <pc:sldMk cId="1739606208" sldId="384"/>
            <ac:graphicFrameMk id="4" creationId="{00000000-0000-0000-0000-000000000000}"/>
          </ac:graphicFrameMkLst>
        </pc:graphicFrameChg>
        <pc:graphicFrameChg chg="mod">
          <ac:chgData name="Dion3, Alain (SPAC/PSPC) (il-lui / he-him)" userId="b5972ad0-fee1-4393-9fd4-8bc589782ac7" providerId="ADAL" clId="{69C01E3A-CCA7-4109-9D87-E7DE28CE6ABA}" dt="2024-10-30T17:16:55.117" v="23"/>
          <ac:graphicFrameMkLst>
            <pc:docMk/>
            <pc:sldMk cId="1739606208" sldId="384"/>
            <ac:graphicFrameMk id="10" creationId="{07F064F6-17A1-C233-1E65-FF057AE4BDA5}"/>
          </ac:graphicFrameMkLst>
        </pc:graphicFrameChg>
        <pc:picChg chg="replST">
          <ac:chgData name="Dion3, Alain (SPAC/PSPC) (il-lui / he-him)" userId="b5972ad0-fee1-4393-9fd4-8bc589782ac7" providerId="ADAL" clId="{69C01E3A-CCA7-4109-9D87-E7DE28CE6ABA}" dt="2024-10-30T17:25:30.986" v="155"/>
          <ac:picMkLst>
            <pc:docMk/>
            <pc:sldMk cId="1739606208" sldId="384"/>
            <ac:picMk id="6" creationId="{00000000-0000-0000-0000-000000000000}"/>
          </ac:picMkLst>
        </pc:picChg>
        <pc:picChg chg="mod">
          <ac:chgData name="Dion3, Alain (SPAC/PSPC) (il-lui / he-him)" userId="b5972ad0-fee1-4393-9fd4-8bc589782ac7" providerId="ADAL" clId="{69C01E3A-CCA7-4109-9D87-E7DE28CE6ABA}" dt="2024-10-30T17:16:55.117" v="23"/>
          <ac:picMkLst>
            <pc:docMk/>
            <pc:sldMk cId="1739606208" sldId="384"/>
            <ac:picMk id="11" creationId="{75CD67BE-7AD8-E118-8E39-C1C3B447A044}"/>
          </ac:picMkLst>
        </pc:picChg>
        <pc:picChg chg="mod">
          <ac:chgData name="Dion3, Alain (SPAC/PSPC) (il-lui / he-him)" userId="b5972ad0-fee1-4393-9fd4-8bc589782ac7" providerId="ADAL" clId="{69C01E3A-CCA7-4109-9D87-E7DE28CE6ABA}" dt="2024-10-30T17:16:55.117" v="23"/>
          <ac:picMkLst>
            <pc:docMk/>
            <pc:sldMk cId="1739606208" sldId="384"/>
            <ac:picMk id="12" creationId="{E99982DE-4842-4EFE-108D-313749543253}"/>
          </ac:picMkLst>
        </pc:picChg>
        <pc:picChg chg="replST">
          <ac:chgData name="Dion3, Alain (SPAC/PSPC) (il-lui / he-him)" userId="b5972ad0-fee1-4393-9fd4-8bc589782ac7" providerId="ADAL" clId="{69C01E3A-CCA7-4109-9D87-E7DE28CE6ABA}" dt="2024-10-30T17:25:30.968" v="154"/>
          <ac:picMkLst>
            <pc:docMk/>
            <pc:sldMk cId="1739606208" sldId="384"/>
            <ac:picMk id="13" creationId="{00000000-0000-0000-0000-000000000000}"/>
          </ac:picMkLst>
        </pc:picChg>
        <pc:picChg chg="replST">
          <ac:chgData name="Dion3, Alain (SPAC/PSPC) (il-lui / he-him)" userId="b5972ad0-fee1-4393-9fd4-8bc589782ac7" providerId="ADAL" clId="{69C01E3A-CCA7-4109-9D87-E7DE28CE6ABA}" dt="2024-10-30T17:25:31.047" v="163"/>
          <ac:picMkLst>
            <pc:docMk/>
            <pc:sldMk cId="1739606208" sldId="384"/>
            <ac:picMk id="14" creationId="{00000000-0000-0000-0000-000000000000}"/>
          </ac:picMkLst>
        </pc:picChg>
        <pc:picChg chg="add">
          <ac:chgData name="Dion3, Alain (SPAC/PSPC) (il-lui / he-him)" userId="b5972ad0-fee1-4393-9fd4-8bc589782ac7" providerId="ADAL" clId="{69C01E3A-CCA7-4109-9D87-E7DE28CE6ABA}" dt="2024-10-30T17:17:03.117" v="28"/>
          <ac:picMkLst>
            <pc:docMk/>
            <pc:sldMk cId="1739606208" sldId="384"/>
            <ac:picMk id="15" creationId="{F27B10FF-B4EF-B979-D2E0-CEDDA342AB82}"/>
          </ac:picMkLst>
        </pc:picChg>
        <pc:picChg chg="mod replST">
          <ac:chgData name="Dion3, Alain (SPAC/PSPC) (il-lui / he-him)" userId="b5972ad0-fee1-4393-9fd4-8bc589782ac7" providerId="ADAL" clId="{69C01E3A-CCA7-4109-9D87-E7DE28CE6ABA}" dt="2024-10-30T17:25:31.039" v="162"/>
          <ac:picMkLst>
            <pc:docMk/>
            <pc:sldMk cId="1739606208" sldId="384"/>
            <ac:picMk id="17" creationId="{89CA9733-78EF-5F49-81C1-064DE89D5260}"/>
          </ac:picMkLst>
        </pc:picChg>
      </pc:sldChg>
      <pc:sldChg chg="modSp mod">
        <pc:chgData name="Dion3, Alain (SPAC/PSPC) (il-lui / he-him)" userId="b5972ad0-fee1-4393-9fd4-8bc589782ac7" providerId="ADAL" clId="{69C01E3A-CCA7-4109-9D87-E7DE28CE6ABA}" dt="2024-10-30T17:30:55.276" v="429" actId="20577"/>
        <pc:sldMkLst>
          <pc:docMk/>
          <pc:sldMk cId="782836501" sldId="385"/>
        </pc:sldMkLst>
        <pc:spChg chg="mod replST">
          <ac:chgData name="Dion3, Alain (SPAC/PSPC) (il-lui / he-him)" userId="b5972ad0-fee1-4393-9fd4-8bc589782ac7" providerId="ADAL" clId="{69C01E3A-CCA7-4109-9D87-E7DE28CE6ABA}" dt="2024-10-30T17:25:31.079" v="168"/>
          <ac:spMkLst>
            <pc:docMk/>
            <pc:sldMk cId="782836501" sldId="385"/>
            <ac:spMk id="2" creationId="{7848FF00-1347-4DA1-9437-1B4A0F154B78}"/>
          </ac:spMkLst>
        </pc:spChg>
        <pc:spChg chg="mod replST">
          <ac:chgData name="Dion3, Alain (SPAC/PSPC) (il-lui / he-him)" userId="b5972ad0-fee1-4393-9fd4-8bc589782ac7" providerId="ADAL" clId="{69C01E3A-CCA7-4109-9D87-E7DE28CE6ABA}" dt="2024-10-30T17:30:55.276" v="429" actId="20577"/>
          <ac:spMkLst>
            <pc:docMk/>
            <pc:sldMk cId="782836501" sldId="385"/>
            <ac:spMk id="4" creationId="{1BF6AE7D-EA5B-2770-5162-CBDE59225782}"/>
          </ac:spMkLst>
        </pc:spChg>
      </pc:sldChg>
      <pc:sldChg chg="modSp mod">
        <pc:chgData name="Dion3, Alain (SPAC/PSPC) (il-lui / he-him)" userId="b5972ad0-fee1-4393-9fd4-8bc589782ac7" providerId="ADAL" clId="{69C01E3A-CCA7-4109-9D87-E7DE28CE6ABA}" dt="2024-10-31T14:42:59.092" v="2337" actId="20577"/>
        <pc:sldMkLst>
          <pc:docMk/>
          <pc:sldMk cId="170717709" sldId="392"/>
        </pc:sldMkLst>
        <pc:spChg chg="mod replST">
          <ac:chgData name="Dion3, Alain (SPAC/PSPC) (il-lui / he-him)" userId="b5972ad0-fee1-4393-9fd4-8bc589782ac7" providerId="ADAL" clId="{69C01E3A-CCA7-4109-9D87-E7DE28CE6ABA}" dt="2024-10-31T13:18:33.909" v="869" actId="790"/>
          <ac:spMkLst>
            <pc:docMk/>
            <pc:sldMk cId="170717709" sldId="392"/>
            <ac:spMk id="2" creationId="{D3A263AE-E6EA-4109-9421-FEA20DDC8F2B}"/>
          </ac:spMkLst>
        </pc:spChg>
        <pc:spChg chg="mod replST">
          <ac:chgData name="Dion3, Alain (SPAC/PSPC) (il-lui / he-him)" userId="b5972ad0-fee1-4393-9fd4-8bc589782ac7" providerId="ADAL" clId="{69C01E3A-CCA7-4109-9D87-E7DE28CE6ABA}" dt="2024-10-31T13:44:28.892" v="1178" actId="20577"/>
          <ac:spMkLst>
            <pc:docMk/>
            <pc:sldMk cId="170717709" sldId="392"/>
            <ac:spMk id="3" creationId="{B9769580-64A6-9348-AE70-801B106B6F40}"/>
          </ac:spMkLst>
        </pc:spChg>
        <pc:spChg chg="mod replST">
          <ac:chgData name="Dion3, Alain (SPAC/PSPC) (il-lui / he-him)" userId="b5972ad0-fee1-4393-9fd4-8bc589782ac7" providerId="ADAL" clId="{69C01E3A-CCA7-4109-9D87-E7DE28CE6ABA}" dt="2024-10-31T13:18:33.909" v="869" actId="790"/>
          <ac:spMkLst>
            <pc:docMk/>
            <pc:sldMk cId="170717709" sldId="392"/>
            <ac:spMk id="9" creationId="{28F99DF7-835D-4673-B748-CF5A7DC68457}"/>
          </ac:spMkLst>
        </pc:spChg>
        <pc:spChg chg="mod replST">
          <ac:chgData name="Dion3, Alain (SPAC/PSPC) (il-lui / he-him)" userId="b5972ad0-fee1-4393-9fd4-8bc589782ac7" providerId="ADAL" clId="{69C01E3A-CCA7-4109-9D87-E7DE28CE6ABA}" dt="2024-10-31T13:18:33.909" v="869" actId="790"/>
          <ac:spMkLst>
            <pc:docMk/>
            <pc:sldMk cId="170717709" sldId="392"/>
            <ac:spMk id="10" creationId="{07FC31D2-801A-49F5-9401-84E5F79C47BE}"/>
          </ac:spMkLst>
        </pc:spChg>
        <pc:spChg chg="mod replST">
          <ac:chgData name="Dion3, Alain (SPAC/PSPC) (il-lui / he-him)" userId="b5972ad0-fee1-4393-9fd4-8bc589782ac7" providerId="ADAL" clId="{69C01E3A-CCA7-4109-9D87-E7DE28CE6ABA}" dt="2024-10-31T13:18:33.909" v="869" actId="790"/>
          <ac:spMkLst>
            <pc:docMk/>
            <pc:sldMk cId="170717709" sldId="392"/>
            <ac:spMk id="11" creationId="{5F36255B-0B0F-4718-884A-37815B058BB1}"/>
          </ac:spMkLst>
        </pc:spChg>
        <pc:spChg chg="mod replST">
          <ac:chgData name="Dion3, Alain (SPAC/PSPC) (il-lui / he-him)" userId="b5972ad0-fee1-4393-9fd4-8bc589782ac7" providerId="ADAL" clId="{69C01E3A-CCA7-4109-9D87-E7DE28CE6ABA}" dt="2024-10-31T13:18:33.909" v="869" actId="790"/>
          <ac:spMkLst>
            <pc:docMk/>
            <pc:sldMk cId="170717709" sldId="392"/>
            <ac:spMk id="12" creationId="{36AADF42-D6C7-44D7-96A9-D874862F6B57}"/>
          </ac:spMkLst>
        </pc:spChg>
        <pc:spChg chg="mod replST">
          <ac:chgData name="Dion3, Alain (SPAC/PSPC) (il-lui / he-him)" userId="b5972ad0-fee1-4393-9fd4-8bc589782ac7" providerId="ADAL" clId="{69C01E3A-CCA7-4109-9D87-E7DE28CE6ABA}" dt="2024-10-31T13:18:33.909" v="869" actId="790"/>
          <ac:spMkLst>
            <pc:docMk/>
            <pc:sldMk cId="170717709" sldId="392"/>
            <ac:spMk id="13" creationId="{B456FA8F-EA34-4812-B5F8-FC4F12F4AAC1}"/>
          </ac:spMkLst>
        </pc:spChg>
        <pc:spChg chg="mod replST">
          <ac:chgData name="Dion3, Alain (SPAC/PSPC) (il-lui / he-him)" userId="b5972ad0-fee1-4393-9fd4-8bc589782ac7" providerId="ADAL" clId="{69C01E3A-CCA7-4109-9D87-E7DE28CE6ABA}" dt="2024-10-31T13:18:33.909" v="869" actId="790"/>
          <ac:spMkLst>
            <pc:docMk/>
            <pc:sldMk cId="170717709" sldId="392"/>
            <ac:spMk id="14" creationId="{F7F1E87D-31A2-49AF-8E2B-9FDEFCD9C261}"/>
          </ac:spMkLst>
        </pc:spChg>
        <pc:spChg chg="mod replST">
          <ac:chgData name="Dion3, Alain (SPAC/PSPC) (il-lui / he-him)" userId="b5972ad0-fee1-4393-9fd4-8bc589782ac7" providerId="ADAL" clId="{69C01E3A-CCA7-4109-9D87-E7DE28CE6ABA}" dt="2024-10-31T13:18:33.909" v="869" actId="790"/>
          <ac:spMkLst>
            <pc:docMk/>
            <pc:sldMk cId="170717709" sldId="392"/>
            <ac:spMk id="15" creationId="{AE25B030-740F-4A0C-8352-EB17DCCAE28A}"/>
          </ac:spMkLst>
        </pc:spChg>
        <pc:spChg chg="mod replST">
          <ac:chgData name="Dion3, Alain (SPAC/PSPC) (il-lui / he-him)" userId="b5972ad0-fee1-4393-9fd4-8bc589782ac7" providerId="ADAL" clId="{69C01E3A-CCA7-4109-9D87-E7DE28CE6ABA}" dt="2024-10-31T13:28:49.147" v="945" actId="313"/>
          <ac:spMkLst>
            <pc:docMk/>
            <pc:sldMk cId="170717709" sldId="392"/>
            <ac:spMk id="16" creationId="{6E268FE2-408D-4D74-9643-3004BDDC2A36}"/>
          </ac:spMkLst>
        </pc:spChg>
        <pc:spChg chg="mod replST">
          <ac:chgData name="Dion3, Alain (SPAC/PSPC) (il-lui / he-him)" userId="b5972ad0-fee1-4393-9fd4-8bc589782ac7" providerId="ADAL" clId="{69C01E3A-CCA7-4109-9D87-E7DE28CE6ABA}" dt="2024-10-31T13:29:05.300" v="973" actId="20577"/>
          <ac:spMkLst>
            <pc:docMk/>
            <pc:sldMk cId="170717709" sldId="392"/>
            <ac:spMk id="17" creationId="{BD8FD75B-32C7-4C68-9C0F-F90DBCC7D84C}"/>
          </ac:spMkLst>
        </pc:spChg>
        <pc:spChg chg="mod replST">
          <ac:chgData name="Dion3, Alain (SPAC/PSPC) (il-lui / he-him)" userId="b5972ad0-fee1-4393-9fd4-8bc589782ac7" providerId="ADAL" clId="{69C01E3A-CCA7-4109-9D87-E7DE28CE6ABA}" dt="2024-10-31T13:45:05.517" v="1188" actId="20577"/>
          <ac:spMkLst>
            <pc:docMk/>
            <pc:sldMk cId="170717709" sldId="392"/>
            <ac:spMk id="18" creationId="{3EBF9B25-9E49-4624-8C82-B3025D1DAE0B}"/>
          </ac:spMkLst>
        </pc:spChg>
        <pc:spChg chg="mod replST">
          <ac:chgData name="Dion3, Alain (SPAC/PSPC) (il-lui / he-him)" userId="b5972ad0-fee1-4393-9fd4-8bc589782ac7" providerId="ADAL" clId="{69C01E3A-CCA7-4109-9D87-E7DE28CE6ABA}" dt="2024-10-31T14:42:59.092" v="2337" actId="20577"/>
          <ac:spMkLst>
            <pc:docMk/>
            <pc:sldMk cId="170717709" sldId="392"/>
            <ac:spMk id="19" creationId="{EF8F501D-2ACA-4E02-BB73-676313AF0E75}"/>
          </ac:spMkLst>
        </pc:spChg>
        <pc:picChg chg="replST">
          <ac:chgData name="Dion3, Alain (SPAC/PSPC) (il-lui / he-him)" userId="b5972ad0-fee1-4393-9fd4-8bc589782ac7" providerId="ADAL" clId="{69C01E3A-CCA7-4109-9D87-E7DE28CE6ABA}" dt="2024-10-30T17:25:31.916" v="278"/>
          <ac:picMkLst>
            <pc:docMk/>
            <pc:sldMk cId="170717709" sldId="392"/>
            <ac:picMk id="20" creationId="{7FCC107B-1B11-4B36-A22B-1597621685E9}"/>
          </ac:picMkLst>
        </pc:picChg>
      </pc:sldChg>
      <pc:sldChg chg="modSp mod">
        <pc:chgData name="Dion3, Alain (SPAC/PSPC) (il-lui / he-him)" userId="b5972ad0-fee1-4393-9fd4-8bc589782ac7" providerId="ADAL" clId="{69C01E3A-CCA7-4109-9D87-E7DE28CE6ABA}" dt="2024-10-31T14:24:44.607" v="1845" actId="20577"/>
        <pc:sldMkLst>
          <pc:docMk/>
          <pc:sldMk cId="2629830747" sldId="396"/>
        </pc:sldMkLst>
        <pc:spChg chg="mod replST">
          <ac:chgData name="Dion3, Alain (SPAC/PSPC) (il-lui / he-him)" userId="b5972ad0-fee1-4393-9fd4-8bc589782ac7" providerId="ADAL" clId="{69C01E3A-CCA7-4109-9D87-E7DE28CE6ABA}" dt="2024-10-31T14:23:50.073" v="1832" actId="790"/>
          <ac:spMkLst>
            <pc:docMk/>
            <pc:sldMk cId="2629830747" sldId="396"/>
            <ac:spMk id="2" creationId="{B258A90E-B601-4187-911F-105639F10A47}"/>
          </ac:spMkLst>
        </pc:spChg>
        <pc:spChg chg="mod replST">
          <ac:chgData name="Dion3, Alain (SPAC/PSPC) (il-lui / he-him)" userId="b5972ad0-fee1-4393-9fd4-8bc589782ac7" providerId="ADAL" clId="{69C01E3A-CCA7-4109-9D87-E7DE28CE6ABA}" dt="2024-10-31T14:24:44.607" v="1845" actId="20577"/>
          <ac:spMkLst>
            <pc:docMk/>
            <pc:sldMk cId="2629830747" sldId="396"/>
            <ac:spMk id="7" creationId="{9C51F60B-98E4-4F1B-BEDC-8E724CCD5EA0}"/>
          </ac:spMkLst>
        </pc:spChg>
        <pc:spChg chg="mod replST">
          <ac:chgData name="Dion3, Alain (SPAC/PSPC) (il-lui / he-him)" userId="b5972ad0-fee1-4393-9fd4-8bc589782ac7" providerId="ADAL" clId="{69C01E3A-CCA7-4109-9D87-E7DE28CE6ABA}" dt="2024-10-31T14:23:50.073" v="1832" actId="790"/>
          <ac:spMkLst>
            <pc:docMk/>
            <pc:sldMk cId="2629830747" sldId="396"/>
            <ac:spMk id="8" creationId="{DDD0E335-B4FA-440D-A658-F0EDCDED0EF7}"/>
          </ac:spMkLst>
        </pc:spChg>
        <pc:spChg chg="mod replST">
          <ac:chgData name="Dion3, Alain (SPAC/PSPC) (il-lui / he-him)" userId="b5972ad0-fee1-4393-9fd4-8bc589782ac7" providerId="ADAL" clId="{69C01E3A-CCA7-4109-9D87-E7DE28CE6ABA}" dt="2024-10-31T14:23:50.073" v="1832" actId="790"/>
          <ac:spMkLst>
            <pc:docMk/>
            <pc:sldMk cId="2629830747" sldId="396"/>
            <ac:spMk id="9" creationId="{0C0AE40D-3647-4DB6-A7C3-B7EA2C3FB88B}"/>
          </ac:spMkLst>
        </pc:spChg>
        <pc:spChg chg="mod replST">
          <ac:chgData name="Dion3, Alain (SPAC/PSPC) (il-lui / he-him)" userId="b5972ad0-fee1-4393-9fd4-8bc589782ac7" providerId="ADAL" clId="{69C01E3A-CCA7-4109-9D87-E7DE28CE6ABA}" dt="2024-10-31T14:23:50.073" v="1832" actId="790"/>
          <ac:spMkLst>
            <pc:docMk/>
            <pc:sldMk cId="2629830747" sldId="396"/>
            <ac:spMk id="10" creationId="{462E96BE-D95C-4368-9D99-D19FDF6C7E6F}"/>
          </ac:spMkLst>
        </pc:spChg>
        <pc:spChg chg="mod replST">
          <ac:chgData name="Dion3, Alain (SPAC/PSPC) (il-lui / he-him)" userId="b5972ad0-fee1-4393-9fd4-8bc589782ac7" providerId="ADAL" clId="{69C01E3A-CCA7-4109-9D87-E7DE28CE6ABA}" dt="2024-10-31T14:23:50.073" v="1832" actId="790"/>
          <ac:spMkLst>
            <pc:docMk/>
            <pc:sldMk cId="2629830747" sldId="396"/>
            <ac:spMk id="11" creationId="{C936AAC1-0E8C-4B8B-BBB7-50C4B306218F}"/>
          </ac:spMkLst>
        </pc:spChg>
        <pc:spChg chg="mod replST">
          <ac:chgData name="Dion3, Alain (SPAC/PSPC) (il-lui / he-him)" userId="b5972ad0-fee1-4393-9fd4-8bc589782ac7" providerId="ADAL" clId="{69C01E3A-CCA7-4109-9D87-E7DE28CE6ABA}" dt="2024-10-31T14:23:50.073" v="1832" actId="790"/>
          <ac:spMkLst>
            <pc:docMk/>
            <pc:sldMk cId="2629830747" sldId="396"/>
            <ac:spMk id="12" creationId="{768E2937-C90C-43CD-B651-292BEE8961B6}"/>
          </ac:spMkLst>
        </pc:spChg>
        <pc:spChg chg="mod replST">
          <ac:chgData name="Dion3, Alain (SPAC/PSPC) (il-lui / he-him)" userId="b5972ad0-fee1-4393-9fd4-8bc589782ac7" providerId="ADAL" clId="{69C01E3A-CCA7-4109-9D87-E7DE28CE6ABA}" dt="2024-10-31T14:23:50.073" v="1832" actId="790"/>
          <ac:spMkLst>
            <pc:docMk/>
            <pc:sldMk cId="2629830747" sldId="396"/>
            <ac:spMk id="13" creationId="{ABA0F2AF-C36C-476C-B45D-B07FDD564968}"/>
          </ac:spMkLst>
        </pc:spChg>
        <pc:spChg chg="mod replST">
          <ac:chgData name="Dion3, Alain (SPAC/PSPC) (il-lui / he-him)" userId="b5972ad0-fee1-4393-9fd4-8bc589782ac7" providerId="ADAL" clId="{69C01E3A-CCA7-4109-9D87-E7DE28CE6ABA}" dt="2024-10-31T14:23:52.394" v="1833" actId="313"/>
          <ac:spMkLst>
            <pc:docMk/>
            <pc:sldMk cId="2629830747" sldId="396"/>
            <ac:spMk id="14" creationId="{FDCB255D-C5FE-4127-BC5C-CCA41CF61F68}"/>
          </ac:spMkLst>
        </pc:spChg>
        <pc:spChg chg="mod replST">
          <ac:chgData name="Dion3, Alain (SPAC/PSPC) (il-lui / he-him)" userId="b5972ad0-fee1-4393-9fd4-8bc589782ac7" providerId="ADAL" clId="{69C01E3A-CCA7-4109-9D87-E7DE28CE6ABA}" dt="2024-10-31T14:23:50.073" v="1832" actId="790"/>
          <ac:spMkLst>
            <pc:docMk/>
            <pc:sldMk cId="2629830747" sldId="396"/>
            <ac:spMk id="15" creationId="{9A3A061C-850C-4E9F-B5E6-9403F5FEBBA4}"/>
          </ac:spMkLst>
        </pc:spChg>
        <pc:spChg chg="mod replST">
          <ac:chgData name="Dion3, Alain (SPAC/PSPC) (il-lui / he-him)" userId="b5972ad0-fee1-4393-9fd4-8bc589782ac7" providerId="ADAL" clId="{69C01E3A-CCA7-4109-9D87-E7DE28CE6ABA}" dt="2024-10-31T14:23:50.073" v="1832" actId="790"/>
          <ac:spMkLst>
            <pc:docMk/>
            <pc:sldMk cId="2629830747" sldId="396"/>
            <ac:spMk id="16" creationId="{A96611CA-404C-4F6F-87DE-75BA16D4C8C6}"/>
          </ac:spMkLst>
        </pc:spChg>
      </pc:sldChg>
      <pc:sldChg chg="modSp mod modNotesTx">
        <pc:chgData name="Dion3, Alain (SPAC/PSPC) (il-lui / he-him)" userId="b5972ad0-fee1-4393-9fd4-8bc589782ac7" providerId="ADAL" clId="{69C01E3A-CCA7-4109-9D87-E7DE28CE6ABA}" dt="2024-10-31T14:32:50.129" v="2105" actId="20577"/>
        <pc:sldMkLst>
          <pc:docMk/>
          <pc:sldMk cId="3182586037" sldId="401"/>
        </pc:sldMkLst>
        <pc:spChg chg="mod replST">
          <ac:chgData name="Dion3, Alain (SPAC/PSPC) (il-lui / he-him)" userId="b5972ad0-fee1-4393-9fd4-8bc589782ac7" providerId="ADAL" clId="{69C01E3A-CCA7-4109-9D87-E7DE28CE6ABA}" dt="2024-10-31T14:26:23.487" v="1861" actId="790"/>
          <ac:spMkLst>
            <pc:docMk/>
            <pc:sldMk cId="3182586037" sldId="401"/>
            <ac:spMk id="2" creationId="{15A84292-B564-42A1-87E0-C35F7892D6D3}"/>
          </ac:spMkLst>
        </pc:spChg>
        <pc:spChg chg="mod">
          <ac:chgData name="Dion3, Alain (SPAC/PSPC) (il-lui / he-him)" userId="b5972ad0-fee1-4393-9fd4-8bc589782ac7" providerId="ADAL" clId="{69C01E3A-CCA7-4109-9D87-E7DE28CE6ABA}" dt="2024-10-31T14:26:23.487" v="1861" actId="790"/>
          <ac:spMkLst>
            <pc:docMk/>
            <pc:sldMk cId="3182586037" sldId="401"/>
            <ac:spMk id="3" creationId="{1BE14FE4-A5A4-46E8-8932-A7EEEA14B718}"/>
          </ac:spMkLst>
        </pc:spChg>
        <pc:spChg chg="mod">
          <ac:chgData name="Dion3, Alain (SPAC/PSPC) (il-lui / he-him)" userId="b5972ad0-fee1-4393-9fd4-8bc589782ac7" providerId="ADAL" clId="{69C01E3A-CCA7-4109-9D87-E7DE28CE6ABA}" dt="2024-10-31T14:28:48.878" v="1876" actId="20577"/>
          <ac:spMkLst>
            <pc:docMk/>
            <pc:sldMk cId="3182586037" sldId="401"/>
            <ac:spMk id="4" creationId="{23BD6127-51A4-4639-9311-475EA0DBC382}"/>
          </ac:spMkLst>
        </pc:spChg>
        <pc:spChg chg="mod">
          <ac:chgData name="Dion3, Alain (SPAC/PSPC) (il-lui / he-him)" userId="b5972ad0-fee1-4393-9fd4-8bc589782ac7" providerId="ADAL" clId="{69C01E3A-CCA7-4109-9D87-E7DE28CE6ABA}" dt="2024-10-31T14:28:52.081" v="1878" actId="20577"/>
          <ac:spMkLst>
            <pc:docMk/>
            <pc:sldMk cId="3182586037" sldId="401"/>
            <ac:spMk id="5" creationId="{25993ADE-C0E3-4A0D-8C69-B727FBA05803}"/>
          </ac:spMkLst>
        </pc:spChg>
        <pc:spChg chg="mod">
          <ac:chgData name="Dion3, Alain (SPAC/PSPC) (il-lui / he-him)" userId="b5972ad0-fee1-4393-9fd4-8bc589782ac7" providerId="ADAL" clId="{69C01E3A-CCA7-4109-9D87-E7DE28CE6ABA}" dt="2024-10-31T14:28:42.675" v="1872" actId="20577"/>
          <ac:spMkLst>
            <pc:docMk/>
            <pc:sldMk cId="3182586037" sldId="401"/>
            <ac:spMk id="6" creationId="{514A5A59-28E4-4E25-8705-5578DBAE467E}"/>
          </ac:spMkLst>
        </pc:spChg>
        <pc:spChg chg="mod">
          <ac:chgData name="Dion3, Alain (SPAC/PSPC) (il-lui / he-him)" userId="b5972ad0-fee1-4393-9fd4-8bc589782ac7" providerId="ADAL" clId="{69C01E3A-CCA7-4109-9D87-E7DE28CE6ABA}" dt="2024-10-31T14:28:46.539" v="1874" actId="20577"/>
          <ac:spMkLst>
            <pc:docMk/>
            <pc:sldMk cId="3182586037" sldId="401"/>
            <ac:spMk id="7" creationId="{384DE798-7080-4C8D-8146-9E258C759A97}"/>
          </ac:spMkLst>
        </pc:spChg>
        <pc:spChg chg="mod">
          <ac:chgData name="Dion3, Alain (SPAC/PSPC) (il-lui / he-him)" userId="b5972ad0-fee1-4393-9fd4-8bc589782ac7" providerId="ADAL" clId="{69C01E3A-CCA7-4109-9D87-E7DE28CE6ABA}" dt="2024-10-31T14:32:26.395" v="2084" actId="20577"/>
          <ac:spMkLst>
            <pc:docMk/>
            <pc:sldMk cId="3182586037" sldId="401"/>
            <ac:spMk id="9" creationId="{965725A6-16F0-4750-9A5B-70A2E7B126E8}"/>
          </ac:spMkLst>
        </pc:spChg>
        <pc:spChg chg="mod">
          <ac:chgData name="Dion3, Alain (SPAC/PSPC) (il-lui / he-him)" userId="b5972ad0-fee1-4393-9fd4-8bc589782ac7" providerId="ADAL" clId="{69C01E3A-CCA7-4109-9D87-E7DE28CE6ABA}" dt="2024-10-31T14:32:25.290" v="2083" actId="20577"/>
          <ac:spMkLst>
            <pc:docMk/>
            <pc:sldMk cId="3182586037" sldId="401"/>
            <ac:spMk id="10" creationId="{FA62099A-5525-474C-8967-0E1126F9828B}"/>
          </ac:spMkLst>
        </pc:spChg>
        <pc:spChg chg="mod">
          <ac:chgData name="Dion3, Alain (SPAC/PSPC) (il-lui / he-him)" userId="b5972ad0-fee1-4393-9fd4-8bc589782ac7" providerId="ADAL" clId="{69C01E3A-CCA7-4109-9D87-E7DE28CE6ABA}" dt="2024-10-31T14:32:27.823" v="2085" actId="20577"/>
          <ac:spMkLst>
            <pc:docMk/>
            <pc:sldMk cId="3182586037" sldId="401"/>
            <ac:spMk id="11" creationId="{55E9A25A-A7FA-48FD-99C4-0BF7E01A129E}"/>
          </ac:spMkLst>
        </pc:spChg>
        <pc:spChg chg="mod">
          <ac:chgData name="Dion3, Alain (SPAC/PSPC) (il-lui / he-him)" userId="b5972ad0-fee1-4393-9fd4-8bc589782ac7" providerId="ADAL" clId="{69C01E3A-CCA7-4109-9D87-E7DE28CE6ABA}" dt="2024-10-31T14:32:21.180" v="2080" actId="20577"/>
          <ac:spMkLst>
            <pc:docMk/>
            <pc:sldMk cId="3182586037" sldId="401"/>
            <ac:spMk id="12" creationId="{0B889BA4-A29C-4881-B7BB-8F60827064B8}"/>
          </ac:spMkLst>
        </pc:spChg>
        <pc:spChg chg="mod">
          <ac:chgData name="Dion3, Alain (SPAC/PSPC) (il-lui / he-him)" userId="b5972ad0-fee1-4393-9fd4-8bc589782ac7" providerId="ADAL" clId="{69C01E3A-CCA7-4109-9D87-E7DE28CE6ABA}" dt="2024-10-31T14:32:24.145" v="2082" actId="20577"/>
          <ac:spMkLst>
            <pc:docMk/>
            <pc:sldMk cId="3182586037" sldId="401"/>
            <ac:spMk id="13" creationId="{D1C35FD5-5B2D-49DF-9B67-BF5D528B3F69}"/>
          </ac:spMkLst>
        </pc:spChg>
        <pc:spChg chg="mod">
          <ac:chgData name="Dion3, Alain (SPAC/PSPC) (il-lui / he-him)" userId="b5972ad0-fee1-4393-9fd4-8bc589782ac7" providerId="ADAL" clId="{69C01E3A-CCA7-4109-9D87-E7DE28CE6ABA}" dt="2024-10-31T14:32:22.873" v="2081" actId="20577"/>
          <ac:spMkLst>
            <pc:docMk/>
            <pc:sldMk cId="3182586037" sldId="401"/>
            <ac:spMk id="14" creationId="{20DF34DF-C007-47CC-9F55-9211A2853CAF}"/>
          </ac:spMkLst>
        </pc:spChg>
        <pc:spChg chg="mod">
          <ac:chgData name="Dion3, Alain (SPAC/PSPC) (il-lui / he-him)" userId="b5972ad0-fee1-4393-9fd4-8bc589782ac7" providerId="ADAL" clId="{69C01E3A-CCA7-4109-9D87-E7DE28CE6ABA}" dt="2024-10-31T14:32:34.680" v="2088" actId="20577"/>
          <ac:spMkLst>
            <pc:docMk/>
            <pc:sldMk cId="3182586037" sldId="401"/>
            <ac:spMk id="15" creationId="{AC7D6365-F105-4F93-8BE0-B43D1CB88581}"/>
          </ac:spMkLst>
        </pc:spChg>
        <pc:spChg chg="mod">
          <ac:chgData name="Dion3, Alain (SPAC/PSPC) (il-lui / he-him)" userId="b5972ad0-fee1-4393-9fd4-8bc589782ac7" providerId="ADAL" clId="{69C01E3A-CCA7-4109-9D87-E7DE28CE6ABA}" dt="2024-10-31T14:31:14.025" v="2003" actId="20577"/>
          <ac:spMkLst>
            <pc:docMk/>
            <pc:sldMk cId="3182586037" sldId="401"/>
            <ac:spMk id="16" creationId="{D76EFD0E-2325-48A0-9879-F8CA77F60151}"/>
          </ac:spMkLst>
        </pc:spChg>
        <pc:spChg chg="mod">
          <ac:chgData name="Dion3, Alain (SPAC/PSPC) (il-lui / he-him)" userId="b5972ad0-fee1-4393-9fd4-8bc589782ac7" providerId="ADAL" clId="{69C01E3A-CCA7-4109-9D87-E7DE28CE6ABA}" dt="2024-10-31T14:32:50.129" v="2105" actId="20577"/>
          <ac:spMkLst>
            <pc:docMk/>
            <pc:sldMk cId="3182586037" sldId="401"/>
            <ac:spMk id="17" creationId="{97308898-6812-42B1-AFE8-3E8A057CA97B}"/>
          </ac:spMkLst>
        </pc:spChg>
        <pc:spChg chg="mod">
          <ac:chgData name="Dion3, Alain (SPAC/PSPC) (il-lui / he-him)" userId="b5972ad0-fee1-4393-9fd4-8bc589782ac7" providerId="ADAL" clId="{69C01E3A-CCA7-4109-9D87-E7DE28CE6ABA}" dt="2024-10-31T14:32:31.131" v="2086" actId="20577"/>
          <ac:spMkLst>
            <pc:docMk/>
            <pc:sldMk cId="3182586037" sldId="401"/>
            <ac:spMk id="18" creationId="{A22B9F5D-B46B-4677-AFEC-D0C7C6221434}"/>
          </ac:spMkLst>
        </pc:spChg>
        <pc:spChg chg="mod">
          <ac:chgData name="Dion3, Alain (SPAC/PSPC) (il-lui / he-him)" userId="b5972ad0-fee1-4393-9fd4-8bc589782ac7" providerId="ADAL" clId="{69C01E3A-CCA7-4109-9D87-E7DE28CE6ABA}" dt="2024-10-31T14:32:32.892" v="2087" actId="20577"/>
          <ac:spMkLst>
            <pc:docMk/>
            <pc:sldMk cId="3182586037" sldId="401"/>
            <ac:spMk id="19" creationId="{916B84F5-B707-4C77-9F7A-5FC4F52EC26C}"/>
          </ac:spMkLst>
        </pc:spChg>
        <pc:spChg chg="mod">
          <ac:chgData name="Dion3, Alain (SPAC/PSPC) (il-lui / he-him)" userId="b5972ad0-fee1-4393-9fd4-8bc589782ac7" providerId="ADAL" clId="{69C01E3A-CCA7-4109-9D87-E7DE28CE6ABA}" dt="2024-10-31T14:31:57.128" v="2058" actId="20577"/>
          <ac:spMkLst>
            <pc:docMk/>
            <pc:sldMk cId="3182586037" sldId="401"/>
            <ac:spMk id="20" creationId="{7ED49430-B819-4E13-BA9E-51EBDB47459D}"/>
          </ac:spMkLst>
        </pc:spChg>
        <pc:grpChg chg="replST">
          <ac:chgData name="Dion3, Alain (SPAC/PSPC) (il-lui / he-him)" userId="b5972ad0-fee1-4393-9fd4-8bc589782ac7" providerId="ADAL" clId="{69C01E3A-CCA7-4109-9D87-E7DE28CE6ABA}" dt="2024-10-30T17:25:32.252" v="321"/>
          <ac:grpSpMkLst>
            <pc:docMk/>
            <pc:sldMk cId="3182586037" sldId="401"/>
            <ac:grpSpMk id="95" creationId="{75ED06EC-ACE2-45AA-9474-A44684B0749A}"/>
          </ac:grpSpMkLst>
        </pc:grpChg>
        <pc:cxnChg chg="mod">
          <ac:chgData name="Dion3, Alain (SPAC/PSPC) (il-lui / he-him)" userId="b5972ad0-fee1-4393-9fd4-8bc589782ac7" providerId="ADAL" clId="{69C01E3A-CCA7-4109-9D87-E7DE28CE6ABA}" dt="2024-10-31T14:32:21.180" v="2080" actId="20577"/>
          <ac:cxnSpMkLst>
            <pc:docMk/>
            <pc:sldMk cId="3182586037" sldId="401"/>
            <ac:cxnSpMk id="52" creationId="{FE724524-15B1-4B11-A9F0-1A25CDB055F5}"/>
          </ac:cxnSpMkLst>
        </pc:cxnChg>
        <pc:cxnChg chg="mod">
          <ac:chgData name="Dion3, Alain (SPAC/PSPC) (il-lui / he-him)" userId="b5972ad0-fee1-4393-9fd4-8bc589782ac7" providerId="ADAL" clId="{69C01E3A-CCA7-4109-9D87-E7DE28CE6ABA}" dt="2024-10-31T14:30:06.159" v="1922" actId="20577"/>
          <ac:cxnSpMkLst>
            <pc:docMk/>
            <pc:sldMk cId="3182586037" sldId="401"/>
            <ac:cxnSpMk id="59" creationId="{3B877085-0FEB-437A-B02D-D6F1AB12EBA8}"/>
          </ac:cxnSpMkLst>
        </pc:cxnChg>
        <pc:cxnChg chg="mod">
          <ac:chgData name="Dion3, Alain (SPAC/PSPC) (il-lui / he-him)" userId="b5972ad0-fee1-4393-9fd4-8bc589782ac7" providerId="ADAL" clId="{69C01E3A-CCA7-4109-9D87-E7DE28CE6ABA}" dt="2024-10-31T14:30:29.466" v="1953" actId="20577"/>
          <ac:cxnSpMkLst>
            <pc:docMk/>
            <pc:sldMk cId="3182586037" sldId="401"/>
            <ac:cxnSpMk id="61" creationId="{1F558360-52CD-4C6A-A769-7C3BCBE09B0A}"/>
          </ac:cxnSpMkLst>
        </pc:cxnChg>
        <pc:cxnChg chg="mod">
          <ac:chgData name="Dion3, Alain (SPAC/PSPC) (il-lui / he-him)" userId="b5972ad0-fee1-4393-9fd4-8bc589782ac7" providerId="ADAL" clId="{69C01E3A-CCA7-4109-9D87-E7DE28CE6ABA}" dt="2024-10-31T14:30:53.196" v="1982" actId="20577"/>
          <ac:cxnSpMkLst>
            <pc:docMk/>
            <pc:sldMk cId="3182586037" sldId="401"/>
            <ac:cxnSpMk id="63" creationId="{14A7A824-1496-479D-A7A2-28AAFD05CB1E}"/>
          </ac:cxnSpMkLst>
        </pc:cxnChg>
        <pc:cxnChg chg="mod">
          <ac:chgData name="Dion3, Alain (SPAC/PSPC) (il-lui / he-him)" userId="b5972ad0-fee1-4393-9fd4-8bc589782ac7" providerId="ADAL" clId="{69C01E3A-CCA7-4109-9D87-E7DE28CE6ABA}" dt="2024-10-31T14:32:16.392" v="2078" actId="20577"/>
          <ac:cxnSpMkLst>
            <pc:docMk/>
            <pc:sldMk cId="3182586037" sldId="401"/>
            <ac:cxnSpMk id="71" creationId="{EC23ED8E-8FCC-4FC3-B632-791CB50D9A16}"/>
          </ac:cxnSpMkLst>
        </pc:cxnChg>
        <pc:cxnChg chg="mod">
          <ac:chgData name="Dion3, Alain (SPAC/PSPC) (il-lui / he-him)" userId="b5972ad0-fee1-4393-9fd4-8bc589782ac7" providerId="ADAL" clId="{69C01E3A-CCA7-4109-9D87-E7DE28CE6ABA}" dt="2024-10-31T14:31:31.772" v="2030" actId="20577"/>
          <ac:cxnSpMkLst>
            <pc:docMk/>
            <pc:sldMk cId="3182586037" sldId="401"/>
            <ac:cxnSpMk id="83" creationId="{BC3A5ADF-5F7A-48A0-8875-32838D048F4F}"/>
          </ac:cxnSpMkLst>
        </pc:cxnChg>
        <pc:cxnChg chg="mod">
          <ac:chgData name="Dion3, Alain (SPAC/PSPC) (il-lui / he-him)" userId="b5972ad0-fee1-4393-9fd4-8bc589782ac7" providerId="ADAL" clId="{69C01E3A-CCA7-4109-9D87-E7DE28CE6ABA}" dt="2024-10-31T14:25:40.249" v="1853" actId="14100"/>
          <ac:cxnSpMkLst>
            <pc:docMk/>
            <pc:sldMk cId="3182586037" sldId="401"/>
            <ac:cxnSpMk id="85" creationId="{7DB1D14A-BA5F-4AE9-99F9-16B16D9043F0}"/>
          </ac:cxnSpMkLst>
        </pc:cxnChg>
      </pc:sldChg>
      <pc:sldChg chg="modSp mod">
        <pc:chgData name="Dion3, Alain (SPAC/PSPC) (il-lui / he-him)" userId="b5972ad0-fee1-4393-9fd4-8bc589782ac7" providerId="ADAL" clId="{69C01E3A-CCA7-4109-9D87-E7DE28CE6ABA}" dt="2024-10-30T17:25:31.072" v="167"/>
        <pc:sldMkLst>
          <pc:docMk/>
          <pc:sldMk cId="2923886881" sldId="4983"/>
        </pc:sldMkLst>
        <pc:spChg chg="mod replST">
          <ac:chgData name="Dion3, Alain (SPAC/PSPC) (il-lui / he-him)" userId="b5972ad0-fee1-4393-9fd4-8bc589782ac7" providerId="ADAL" clId="{69C01E3A-CCA7-4109-9D87-E7DE28CE6ABA}" dt="2024-10-30T17:25:31.061" v="165"/>
          <ac:spMkLst>
            <pc:docMk/>
            <pc:sldMk cId="2923886881" sldId="4983"/>
            <ac:spMk id="5" creationId="{80EAACD6-B4F1-8DE4-7C32-D9BA09515897}"/>
          </ac:spMkLst>
        </pc:spChg>
        <pc:spChg chg="mod replST">
          <ac:chgData name="Dion3, Alain (SPAC/PSPC) (il-lui / he-him)" userId="b5972ad0-fee1-4393-9fd4-8bc589782ac7" providerId="ADAL" clId="{69C01E3A-CCA7-4109-9D87-E7DE28CE6ABA}" dt="2024-10-30T17:25:31.067" v="166"/>
          <ac:spMkLst>
            <pc:docMk/>
            <pc:sldMk cId="2923886881" sldId="4983"/>
            <ac:spMk id="6" creationId="{E721DAC6-2C79-1360-C798-8A813E90139B}"/>
          </ac:spMkLst>
        </pc:spChg>
        <pc:spChg chg="mod replST">
          <ac:chgData name="Dion3, Alain (SPAC/PSPC) (il-lui / he-him)" userId="b5972ad0-fee1-4393-9fd4-8bc589782ac7" providerId="ADAL" clId="{69C01E3A-CCA7-4109-9D87-E7DE28CE6ABA}" dt="2024-10-30T17:25:31.072" v="167"/>
          <ac:spMkLst>
            <pc:docMk/>
            <pc:sldMk cId="2923886881" sldId="4983"/>
            <ac:spMk id="7" creationId="{1BB55E0A-6F72-0999-0ACE-64DCC8775AAC}"/>
          </ac:spMkLst>
        </pc:spChg>
      </pc:sldChg>
      <pc:sldChg chg="modSp mod modNotesTx">
        <pc:chgData name="Dion3, Alain (SPAC/PSPC) (il-lui / he-him)" userId="b5972ad0-fee1-4393-9fd4-8bc589782ac7" providerId="ADAL" clId="{69C01E3A-CCA7-4109-9D87-E7DE28CE6ABA}" dt="2024-10-31T13:36:19.092" v="1087" actId="790"/>
        <pc:sldMkLst>
          <pc:docMk/>
          <pc:sldMk cId="3215160705" sldId="4985"/>
        </pc:sldMkLst>
        <pc:spChg chg="replST">
          <ac:chgData name="Dion3, Alain (SPAC/PSPC) (il-lui / he-him)" userId="b5972ad0-fee1-4393-9fd4-8bc589782ac7" providerId="ADAL" clId="{69C01E3A-CCA7-4109-9D87-E7DE28CE6ABA}" dt="2024-10-30T17:25:31.979" v="286"/>
          <ac:spMkLst>
            <pc:docMk/>
            <pc:sldMk cId="3215160705" sldId="4985"/>
            <ac:spMk id="2" creationId="{23CE6DA8-6FD6-77EF-D7A3-C3773CB1AD0F}"/>
          </ac:spMkLst>
        </pc:spChg>
        <pc:picChg chg="replST">
          <ac:chgData name="Dion3, Alain (SPAC/PSPC) (il-lui / he-him)" userId="b5972ad0-fee1-4393-9fd4-8bc589782ac7" providerId="ADAL" clId="{69C01E3A-CCA7-4109-9D87-E7DE28CE6ABA}" dt="2024-10-30T17:25:31.986" v="287"/>
          <ac:picMkLst>
            <pc:docMk/>
            <pc:sldMk cId="3215160705" sldId="4985"/>
            <ac:picMk id="4" creationId="{3C3FFD83-4FFF-AE8D-EDB3-D6ED1127B511}"/>
          </ac:picMkLst>
        </pc:picChg>
      </pc:sldChg>
      <pc:sldChg chg="add del">
        <pc:chgData name="Dion3, Alain (SPAC/PSPC) (il-lui / he-him)" userId="b5972ad0-fee1-4393-9fd4-8bc589782ac7" providerId="ADAL" clId="{69C01E3A-CCA7-4109-9D87-E7DE28CE6ABA}" dt="2024-10-31T13:59:26.675" v="1293" actId="47"/>
        <pc:sldMkLst>
          <pc:docMk/>
          <pc:sldMk cId="3675530289" sldId="4990"/>
        </pc:sldMkLst>
      </pc:sldChg>
      <pc:sldChg chg="modSp mod modNotesTx">
        <pc:chgData name="Dion3, Alain (SPAC/PSPC) (il-lui / he-him)" userId="b5972ad0-fee1-4393-9fd4-8bc589782ac7" providerId="ADAL" clId="{69C01E3A-CCA7-4109-9D87-E7DE28CE6ABA}" dt="2024-10-31T13:58:52.977" v="1292" actId="20577"/>
        <pc:sldMkLst>
          <pc:docMk/>
          <pc:sldMk cId="2912528862" sldId="4991"/>
        </pc:sldMkLst>
        <pc:spChg chg="replST">
          <ac:chgData name="Dion3, Alain (SPAC/PSPC) (il-lui / he-him)" userId="b5972ad0-fee1-4393-9fd4-8bc589782ac7" providerId="ADAL" clId="{69C01E3A-CCA7-4109-9D87-E7DE28CE6ABA}" dt="2024-10-30T17:25:32.085" v="298"/>
          <ac:spMkLst>
            <pc:docMk/>
            <pc:sldMk cId="2912528862" sldId="4991"/>
            <ac:spMk id="2" creationId="{5F2133EB-D1DE-36F4-1A38-9F3853005FC1}"/>
          </ac:spMkLst>
        </pc:spChg>
        <pc:spChg chg="mod replST">
          <ac:chgData name="Dion3, Alain (SPAC/PSPC) (il-lui / he-him)" userId="b5972ad0-fee1-4393-9fd4-8bc589782ac7" providerId="ADAL" clId="{69C01E3A-CCA7-4109-9D87-E7DE28CE6ABA}" dt="2024-10-31T13:56:57.144" v="1281" actId="790"/>
          <ac:spMkLst>
            <pc:docMk/>
            <pc:sldMk cId="2912528862" sldId="4991"/>
            <ac:spMk id="3" creationId="{850EFA27-BB7E-A97B-CC4E-5CD87E1BCE56}"/>
          </ac:spMkLst>
        </pc:spChg>
        <pc:spChg chg="mod replST">
          <ac:chgData name="Dion3, Alain (SPAC/PSPC) (il-lui / he-him)" userId="b5972ad0-fee1-4393-9fd4-8bc589782ac7" providerId="ADAL" clId="{69C01E3A-CCA7-4109-9D87-E7DE28CE6ABA}" dt="2024-10-31T13:54:37.513" v="1267"/>
          <ac:spMkLst>
            <pc:docMk/>
            <pc:sldMk cId="2912528862" sldId="4991"/>
            <ac:spMk id="5" creationId="{C106BBF8-09B2-51C8-37AB-01D36F4778F1}"/>
          </ac:spMkLst>
        </pc:spChg>
        <pc:picChg chg="replST">
          <ac:chgData name="Dion3, Alain (SPAC/PSPC) (il-lui / he-him)" userId="b5972ad0-fee1-4393-9fd4-8bc589782ac7" providerId="ADAL" clId="{69C01E3A-CCA7-4109-9D87-E7DE28CE6ABA}" dt="2024-10-30T17:25:32.075" v="297"/>
          <ac:picMkLst>
            <pc:docMk/>
            <pc:sldMk cId="2912528862" sldId="4991"/>
            <ac:picMk id="7" creationId="{029F2DA0-493B-6158-F5EF-5894A99FDE45}"/>
          </ac:picMkLst>
        </pc:picChg>
      </pc:sldChg>
      <pc:sldChg chg="add">
        <pc:chgData name="Dion3, Alain (SPAC/PSPC) (il-lui / he-him)" userId="b5972ad0-fee1-4393-9fd4-8bc589782ac7" providerId="ADAL" clId="{69C01E3A-CCA7-4109-9D87-E7DE28CE6ABA}" dt="2024-10-30T17:47:50.978" v="495"/>
        <pc:sldMkLst>
          <pc:docMk/>
          <pc:sldMk cId="581567723" sldId="4998"/>
        </pc:sldMkLst>
      </pc:sldChg>
      <pc:sldChg chg="modSp del mod">
        <pc:chgData name="Dion3, Alain (SPAC/PSPC) (il-lui / he-him)" userId="b5972ad0-fee1-4393-9fd4-8bc589782ac7" providerId="ADAL" clId="{69C01E3A-CCA7-4109-9D87-E7DE28CE6ABA}" dt="2024-10-30T17:45:07.202" v="493" actId="2696"/>
        <pc:sldMkLst>
          <pc:docMk/>
          <pc:sldMk cId="3194185217" sldId="5000"/>
        </pc:sldMkLst>
        <pc:spChg chg="replST">
          <ac:chgData name="Dion3, Alain (SPAC/PSPC) (il-lui / he-him)" userId="b5972ad0-fee1-4393-9fd4-8bc589782ac7" providerId="ADAL" clId="{69C01E3A-CCA7-4109-9D87-E7DE28CE6ABA}" dt="2024-10-30T17:25:31.112" v="172"/>
          <ac:spMkLst>
            <pc:docMk/>
            <pc:sldMk cId="3194185217" sldId="5000"/>
            <ac:spMk id="2" creationId="{2828F65A-808D-02D2-738B-A7C5CC9FA5CA}"/>
          </ac:spMkLst>
        </pc:spChg>
        <pc:spChg chg="replST">
          <ac:chgData name="Dion3, Alain (SPAC/PSPC) (il-lui / he-him)" userId="b5972ad0-fee1-4393-9fd4-8bc589782ac7" providerId="ADAL" clId="{69C01E3A-CCA7-4109-9D87-E7DE28CE6ABA}" dt="2024-10-30T17:25:31.140" v="175"/>
          <ac:spMkLst>
            <pc:docMk/>
            <pc:sldMk cId="3194185217" sldId="5000"/>
            <ac:spMk id="311" creationId="{7F17BAD9-B2D7-AE7A-CCDA-9D497073F97B}"/>
          </ac:spMkLst>
        </pc:spChg>
        <pc:grpChg chg="replST">
          <ac:chgData name="Dion3, Alain (SPAC/PSPC) (il-lui / he-him)" userId="b5972ad0-fee1-4393-9fd4-8bc589782ac7" providerId="ADAL" clId="{69C01E3A-CCA7-4109-9D87-E7DE28CE6ABA}" dt="2024-10-30T17:25:31.125" v="173"/>
          <ac:grpSpMkLst>
            <pc:docMk/>
            <pc:sldMk cId="3194185217" sldId="5000"/>
            <ac:grpSpMk id="3" creationId="{EAFCA7DA-B3A3-40D1-F2DD-88BF94C0FDEE}"/>
          </ac:grpSpMkLst>
        </pc:grpChg>
        <pc:grpChg chg="replST">
          <ac:chgData name="Dion3, Alain (SPAC/PSPC) (il-lui / he-him)" userId="b5972ad0-fee1-4393-9fd4-8bc589782ac7" providerId="ADAL" clId="{69C01E3A-CCA7-4109-9D87-E7DE28CE6ABA}" dt="2024-10-30T17:25:31.132" v="174"/>
          <ac:grpSpMkLst>
            <pc:docMk/>
            <pc:sldMk cId="3194185217" sldId="5000"/>
            <ac:grpSpMk id="227" creationId="{CD4E07AF-5600-82A3-E8AC-221858721018}"/>
          </ac:grpSpMkLst>
        </pc:grpChg>
      </pc:sldChg>
      <pc:sldChg chg="modSp mod">
        <pc:chgData name="Dion3, Alain (SPAC/PSPC) (il-lui / he-him)" userId="b5972ad0-fee1-4393-9fd4-8bc589782ac7" providerId="ADAL" clId="{69C01E3A-CCA7-4109-9D87-E7DE28CE6ABA}" dt="2024-10-31T14:15:11.180" v="1571" actId="20577"/>
        <pc:sldMkLst>
          <pc:docMk/>
          <pc:sldMk cId="1650686714" sldId="5010"/>
        </pc:sldMkLst>
        <pc:spChg chg="mod replST">
          <ac:chgData name="Dion3, Alain (SPAC/PSPC) (il-lui / he-him)" userId="b5972ad0-fee1-4393-9fd4-8bc589782ac7" providerId="ADAL" clId="{69C01E3A-CCA7-4109-9D87-E7DE28CE6ABA}" dt="2024-10-31T14:02:23.720" v="1377" actId="20577"/>
          <ac:spMkLst>
            <pc:docMk/>
            <pc:sldMk cId="1650686714" sldId="5010"/>
            <ac:spMk id="2" creationId="{A0732E3F-0C57-7047-63C6-D6AD5EBDE382}"/>
          </ac:spMkLst>
        </pc:spChg>
        <pc:spChg chg="mod replST">
          <ac:chgData name="Dion3, Alain (SPAC/PSPC) (il-lui / he-him)" userId="b5972ad0-fee1-4393-9fd4-8bc589782ac7" providerId="ADAL" clId="{69C01E3A-CCA7-4109-9D87-E7DE28CE6ABA}" dt="2024-10-31T14:01:12.972" v="1345" actId="790"/>
          <ac:spMkLst>
            <pc:docMk/>
            <pc:sldMk cId="1650686714" sldId="5010"/>
            <ac:spMk id="3" creationId="{F7F9C321-5045-FC17-DD16-3AF5F6E5AAB2}"/>
          </ac:spMkLst>
        </pc:spChg>
        <pc:spChg chg="mod replST">
          <ac:chgData name="Dion3, Alain (SPAC/PSPC) (il-lui / he-him)" userId="b5972ad0-fee1-4393-9fd4-8bc589782ac7" providerId="ADAL" clId="{69C01E3A-CCA7-4109-9D87-E7DE28CE6ABA}" dt="2024-10-31T14:12:43.393" v="1388" actId="20577"/>
          <ac:spMkLst>
            <pc:docMk/>
            <pc:sldMk cId="1650686714" sldId="5010"/>
            <ac:spMk id="4" creationId="{FB4D97CD-4E3A-8D73-6C78-0E130C8F9229}"/>
          </ac:spMkLst>
        </pc:spChg>
        <pc:spChg chg="mod replST">
          <ac:chgData name="Dion3, Alain (SPAC/PSPC) (il-lui / he-him)" userId="b5972ad0-fee1-4393-9fd4-8bc589782ac7" providerId="ADAL" clId="{69C01E3A-CCA7-4109-9D87-E7DE28CE6ABA}" dt="2024-10-31T14:01:12.972" v="1345" actId="790"/>
          <ac:spMkLst>
            <pc:docMk/>
            <pc:sldMk cId="1650686714" sldId="5010"/>
            <ac:spMk id="5" creationId="{35521651-F690-5D7A-EC35-650FCBE5BE26}"/>
          </ac:spMkLst>
        </pc:spChg>
        <pc:spChg chg="mod replST">
          <ac:chgData name="Dion3, Alain (SPAC/PSPC) (il-lui / he-him)" userId="b5972ad0-fee1-4393-9fd4-8bc589782ac7" providerId="ADAL" clId="{69C01E3A-CCA7-4109-9D87-E7DE28CE6ABA}" dt="2024-10-31T14:14:43.943" v="1508" actId="20577"/>
          <ac:spMkLst>
            <pc:docMk/>
            <pc:sldMk cId="1650686714" sldId="5010"/>
            <ac:spMk id="6" creationId="{D2E6727D-6C14-1EB8-AA24-DDFF078476B3}"/>
          </ac:spMkLst>
        </pc:spChg>
        <pc:spChg chg="mod replST">
          <ac:chgData name="Dion3, Alain (SPAC/PSPC) (il-lui / he-him)" userId="b5972ad0-fee1-4393-9fd4-8bc589782ac7" providerId="ADAL" clId="{69C01E3A-CCA7-4109-9D87-E7DE28CE6ABA}" dt="2024-10-31T14:01:12.972" v="1345" actId="790"/>
          <ac:spMkLst>
            <pc:docMk/>
            <pc:sldMk cId="1650686714" sldId="5010"/>
            <ac:spMk id="7" creationId="{8863DCB0-B132-7181-30DE-FAD1B0C0DDF6}"/>
          </ac:spMkLst>
        </pc:spChg>
        <pc:spChg chg="mod replST">
          <ac:chgData name="Dion3, Alain (SPAC/PSPC) (il-lui / he-him)" userId="b5972ad0-fee1-4393-9fd4-8bc589782ac7" providerId="ADAL" clId="{69C01E3A-CCA7-4109-9D87-E7DE28CE6ABA}" dt="2024-10-31T14:14:05.286" v="1505" actId="20577"/>
          <ac:spMkLst>
            <pc:docMk/>
            <pc:sldMk cId="1650686714" sldId="5010"/>
            <ac:spMk id="8" creationId="{947E9467-6EE6-FBB6-D209-9337B224B714}"/>
          </ac:spMkLst>
        </pc:spChg>
        <pc:spChg chg="mod replST">
          <ac:chgData name="Dion3, Alain (SPAC/PSPC) (il-lui / he-him)" userId="b5972ad0-fee1-4393-9fd4-8bc589782ac7" providerId="ADAL" clId="{69C01E3A-CCA7-4109-9D87-E7DE28CE6ABA}" dt="2024-10-31T14:01:12.972" v="1345" actId="790"/>
          <ac:spMkLst>
            <pc:docMk/>
            <pc:sldMk cId="1650686714" sldId="5010"/>
            <ac:spMk id="9" creationId="{9FB2266D-787A-60E8-67B4-EC9D1650C40D}"/>
          </ac:spMkLst>
        </pc:spChg>
        <pc:spChg chg="mod replST">
          <ac:chgData name="Dion3, Alain (SPAC/PSPC) (il-lui / he-him)" userId="b5972ad0-fee1-4393-9fd4-8bc589782ac7" providerId="ADAL" clId="{69C01E3A-CCA7-4109-9D87-E7DE28CE6ABA}" dt="2024-10-31T14:15:11.180" v="1571" actId="20577"/>
          <ac:spMkLst>
            <pc:docMk/>
            <pc:sldMk cId="1650686714" sldId="5010"/>
            <ac:spMk id="10" creationId="{FFCF80D2-D173-6A12-3CB2-EEFA7D2F0280}"/>
          </ac:spMkLst>
        </pc:spChg>
      </pc:sldChg>
      <pc:sldChg chg="modSp mod">
        <pc:chgData name="Dion3, Alain (SPAC/PSPC) (il-lui / he-him)" userId="b5972ad0-fee1-4393-9fd4-8bc589782ac7" providerId="ADAL" clId="{69C01E3A-CCA7-4109-9D87-E7DE28CE6ABA}" dt="2024-10-31T14:44:07.682" v="2349" actId="20577"/>
        <pc:sldMkLst>
          <pc:docMk/>
          <pc:sldMk cId="2100399840" sldId="5011"/>
        </pc:sldMkLst>
        <pc:spChg chg="replST">
          <ac:chgData name="Dion3, Alain (SPAC/PSPC) (il-lui / he-him)" userId="b5972ad0-fee1-4393-9fd4-8bc589782ac7" providerId="ADAL" clId="{69C01E3A-CCA7-4109-9D87-E7DE28CE6ABA}" dt="2024-10-30T17:25:32.259" v="322"/>
          <ac:spMkLst>
            <pc:docMk/>
            <pc:sldMk cId="2100399840" sldId="5011"/>
            <ac:spMk id="2" creationId="{A85E27B8-4E8C-76A8-8D70-79A07325600C}"/>
          </ac:spMkLst>
        </pc:spChg>
        <pc:spChg chg="mod replST">
          <ac:chgData name="Dion3, Alain (SPAC/PSPC) (il-lui / he-him)" userId="b5972ad0-fee1-4393-9fd4-8bc589782ac7" providerId="ADAL" clId="{69C01E3A-CCA7-4109-9D87-E7DE28CE6ABA}" dt="2024-10-31T14:44:07.682" v="2349" actId="20577"/>
          <ac:spMkLst>
            <pc:docMk/>
            <pc:sldMk cId="2100399840" sldId="5011"/>
            <ac:spMk id="3" creationId="{63853EAE-6C40-7F6A-CD9C-4F90675A3F9D}"/>
          </ac:spMkLst>
        </pc:spChg>
      </pc:sldChg>
      <pc:sldChg chg="modSp mod">
        <pc:chgData name="Dion3, Alain (SPAC/PSPC) (il-lui / he-him)" userId="b5972ad0-fee1-4393-9fd4-8bc589782ac7" providerId="ADAL" clId="{69C01E3A-CCA7-4109-9D87-E7DE28CE6ABA}" dt="2024-10-31T13:38:30.045" v="1092" actId="20577"/>
        <pc:sldMkLst>
          <pc:docMk/>
          <pc:sldMk cId="223308526" sldId="5013"/>
        </pc:sldMkLst>
        <pc:spChg chg="mod replST">
          <ac:chgData name="Dion3, Alain (SPAC/PSPC) (il-lui / he-him)" userId="b5972ad0-fee1-4393-9fd4-8bc589782ac7" providerId="ADAL" clId="{69C01E3A-CCA7-4109-9D87-E7DE28CE6ABA}" dt="2024-10-31T13:38:02.721" v="1089" actId="790"/>
          <ac:spMkLst>
            <pc:docMk/>
            <pc:sldMk cId="223308526" sldId="5013"/>
            <ac:spMk id="2" creationId="{9DE119AA-C27C-1F93-8533-D6E1F56A43A8}"/>
          </ac:spMkLst>
        </pc:spChg>
        <pc:spChg chg="mod replST">
          <ac:chgData name="Dion3, Alain (SPAC/PSPC) (il-lui / he-him)" userId="b5972ad0-fee1-4393-9fd4-8bc589782ac7" providerId="ADAL" clId="{69C01E3A-CCA7-4109-9D87-E7DE28CE6ABA}" dt="2024-10-31T13:38:30.045" v="1092" actId="20577"/>
          <ac:spMkLst>
            <pc:docMk/>
            <pc:sldMk cId="223308526" sldId="5013"/>
            <ac:spMk id="3" creationId="{6E6CE6DC-0817-8A8E-1F32-841455836C35}"/>
          </ac:spMkLst>
        </pc:spChg>
      </pc:sldChg>
      <pc:sldChg chg="modSp mod">
        <pc:chgData name="Dion3, Alain (SPAC/PSPC) (il-lui / he-him)" userId="b5972ad0-fee1-4393-9fd4-8bc589782ac7" providerId="ADAL" clId="{69C01E3A-CCA7-4109-9D87-E7DE28CE6ABA}" dt="2024-10-31T14:43:37.350" v="2348" actId="20577"/>
        <pc:sldMkLst>
          <pc:docMk/>
          <pc:sldMk cId="2933910877" sldId="5014"/>
        </pc:sldMkLst>
        <pc:spChg chg="mod replST">
          <ac:chgData name="Dion3, Alain (SPAC/PSPC) (il-lui / he-him)" userId="b5972ad0-fee1-4393-9fd4-8bc589782ac7" providerId="ADAL" clId="{69C01E3A-CCA7-4109-9D87-E7DE28CE6ABA}" dt="2024-10-31T14:43:37.350" v="2348" actId="20577"/>
          <ac:spMkLst>
            <pc:docMk/>
            <pc:sldMk cId="2933910877" sldId="5014"/>
            <ac:spMk id="2" creationId="{21B46FA5-33EE-8DB6-0B99-423F3FBF7201}"/>
          </ac:spMkLst>
        </pc:spChg>
        <pc:spChg chg="replST">
          <ac:chgData name="Dion3, Alain (SPAC/PSPC) (il-lui / he-him)" userId="b5972ad0-fee1-4393-9fd4-8bc589782ac7" providerId="ADAL" clId="{69C01E3A-CCA7-4109-9D87-E7DE28CE6ABA}" dt="2024-10-30T17:25:31.996" v="288"/>
          <ac:spMkLst>
            <pc:docMk/>
            <pc:sldMk cId="2933910877" sldId="5014"/>
            <ac:spMk id="4" creationId="{B59BAA67-97F2-D3FF-5402-ADC4AA8D0943}"/>
          </ac:spMkLst>
        </pc:spChg>
        <pc:grpChg chg="replST">
          <ac:chgData name="Dion3, Alain (SPAC/PSPC) (il-lui / he-him)" userId="b5972ad0-fee1-4393-9fd4-8bc589782ac7" providerId="ADAL" clId="{69C01E3A-CCA7-4109-9D87-E7DE28CE6ABA}" dt="2024-10-30T17:25:32.006" v="290"/>
          <ac:grpSpMkLst>
            <pc:docMk/>
            <pc:sldMk cId="2933910877" sldId="5014"/>
            <ac:grpSpMk id="3" creationId="{A8AAE2BE-9D87-6C05-D744-507576E86D64}"/>
          </ac:grpSpMkLst>
        </pc:grpChg>
      </pc:sldChg>
      <pc:sldChg chg="modSp mod">
        <pc:chgData name="Dion3, Alain (SPAC/PSPC) (il-lui / he-him)" userId="b5972ad0-fee1-4393-9fd4-8bc589782ac7" providerId="ADAL" clId="{69C01E3A-CCA7-4109-9D87-E7DE28CE6ABA}" dt="2024-10-31T13:44:49.187" v="1184" actId="20577"/>
        <pc:sldMkLst>
          <pc:docMk/>
          <pc:sldMk cId="3259092804" sldId="5018"/>
        </pc:sldMkLst>
        <pc:spChg chg="mod replST">
          <ac:chgData name="Dion3, Alain (SPAC/PSPC) (il-lui / he-him)" userId="b5972ad0-fee1-4393-9fd4-8bc589782ac7" providerId="ADAL" clId="{69C01E3A-CCA7-4109-9D87-E7DE28CE6ABA}" dt="2024-10-31T13:44:49.187" v="1184" actId="20577"/>
          <ac:spMkLst>
            <pc:docMk/>
            <pc:sldMk cId="3259092804" sldId="5018"/>
            <ac:spMk id="2" creationId="{E2E002CE-8EF1-DDFD-24EA-6F2570759FCC}"/>
          </ac:spMkLst>
        </pc:spChg>
        <pc:spChg chg="mod replST">
          <ac:chgData name="Dion3, Alain (SPAC/PSPC) (il-lui / he-him)" userId="b5972ad0-fee1-4393-9fd4-8bc589782ac7" providerId="ADAL" clId="{69C01E3A-CCA7-4109-9D87-E7DE28CE6ABA}" dt="2024-10-31T13:44:41.772" v="1179" actId="790"/>
          <ac:spMkLst>
            <pc:docMk/>
            <pc:sldMk cId="3259092804" sldId="5018"/>
            <ac:spMk id="4" creationId="{C7EEBD97-7B77-8F19-8364-1778CD59EF70}"/>
          </ac:spMkLst>
        </pc:spChg>
        <pc:picChg chg="replST">
          <ac:chgData name="Dion3, Alain (SPAC/PSPC) (il-lui / he-him)" userId="b5972ad0-fee1-4393-9fd4-8bc589782ac7" providerId="ADAL" clId="{69C01E3A-CCA7-4109-9D87-E7DE28CE6ABA}" dt="2024-10-30T17:25:32.033" v="293"/>
          <ac:picMkLst>
            <pc:docMk/>
            <pc:sldMk cId="3259092804" sldId="5018"/>
            <ac:picMk id="5" creationId="{B19C7101-560E-8F3A-A177-991F841221C1}"/>
          </ac:picMkLst>
        </pc:picChg>
      </pc:sldChg>
      <pc:sldChg chg="modSp mod">
        <pc:chgData name="Dion3, Alain (SPAC/PSPC) (il-lui / he-him)" userId="b5972ad0-fee1-4393-9fd4-8bc589782ac7" providerId="ADAL" clId="{69C01E3A-CCA7-4109-9D87-E7DE28CE6ABA}" dt="2024-10-31T13:37:38.915" v="1088" actId="20577"/>
        <pc:sldMkLst>
          <pc:docMk/>
          <pc:sldMk cId="3612331858" sldId="5019"/>
        </pc:sldMkLst>
        <pc:spChg chg="mod replST">
          <ac:chgData name="Dion3, Alain (SPAC/PSPC) (il-lui / he-him)" userId="b5972ad0-fee1-4393-9fd4-8bc589782ac7" providerId="ADAL" clId="{69C01E3A-CCA7-4109-9D87-E7DE28CE6ABA}" dt="2024-10-31T13:35:07.571" v="1072" actId="790"/>
          <ac:spMkLst>
            <pc:docMk/>
            <pc:sldMk cId="3612331858" sldId="5019"/>
            <ac:spMk id="2" creationId="{DDD1D901-0DB1-131C-ECE7-292E7AEBABBB}"/>
          </ac:spMkLst>
        </pc:spChg>
        <pc:spChg chg="mod">
          <ac:chgData name="Dion3, Alain (SPAC/PSPC) (il-lui / he-him)" userId="b5972ad0-fee1-4393-9fd4-8bc589782ac7" providerId="ADAL" clId="{69C01E3A-CCA7-4109-9D87-E7DE28CE6ABA}" dt="2024-10-31T13:35:07.571" v="1072" actId="790"/>
          <ac:spMkLst>
            <pc:docMk/>
            <pc:sldMk cId="3612331858" sldId="5019"/>
            <ac:spMk id="13" creationId="{9EB1ECE3-C844-5F47-9598-822C701DEF1D}"/>
          </ac:spMkLst>
        </pc:spChg>
        <pc:spChg chg="mod replST">
          <ac:chgData name="Dion3, Alain (SPAC/PSPC) (il-lui / he-him)" userId="b5972ad0-fee1-4393-9fd4-8bc589782ac7" providerId="ADAL" clId="{69C01E3A-CCA7-4109-9D87-E7DE28CE6ABA}" dt="2024-10-31T13:37:38.915" v="1088" actId="20577"/>
          <ac:spMkLst>
            <pc:docMk/>
            <pc:sldMk cId="3612331858" sldId="5019"/>
            <ac:spMk id="15" creationId="{AD853EB0-D48C-ECE2-9A46-11728F9C378A}"/>
          </ac:spMkLst>
        </pc:spChg>
        <pc:spChg chg="mod replST">
          <ac:chgData name="Dion3, Alain (SPAC/PSPC) (il-lui / he-him)" userId="b5972ad0-fee1-4393-9fd4-8bc589782ac7" providerId="ADAL" clId="{69C01E3A-CCA7-4109-9D87-E7DE28CE6ABA}" dt="2024-10-31T13:35:07.571" v="1072" actId="790"/>
          <ac:spMkLst>
            <pc:docMk/>
            <pc:sldMk cId="3612331858" sldId="5019"/>
            <ac:spMk id="16" creationId="{FA1BB9C4-4EAF-51CE-B1C5-F7681DAF3E8D}"/>
          </ac:spMkLst>
        </pc:spChg>
        <pc:spChg chg="mod replST">
          <ac:chgData name="Dion3, Alain (SPAC/PSPC) (il-lui / he-him)" userId="b5972ad0-fee1-4393-9fd4-8bc589782ac7" providerId="ADAL" clId="{69C01E3A-CCA7-4109-9D87-E7DE28CE6ABA}" dt="2024-10-31T13:35:07.571" v="1072" actId="790"/>
          <ac:spMkLst>
            <pc:docMk/>
            <pc:sldMk cId="3612331858" sldId="5019"/>
            <ac:spMk id="17" creationId="{985AD11C-EACE-0954-BAFE-2AB525EA7F02}"/>
          </ac:spMkLst>
        </pc:spChg>
        <pc:spChg chg="mod">
          <ac:chgData name="Dion3, Alain (SPAC/PSPC) (il-lui / he-him)" userId="b5972ad0-fee1-4393-9fd4-8bc589782ac7" providerId="ADAL" clId="{69C01E3A-CCA7-4109-9D87-E7DE28CE6ABA}" dt="2024-10-31T13:35:07.571" v="1072" actId="790"/>
          <ac:spMkLst>
            <pc:docMk/>
            <pc:sldMk cId="3612331858" sldId="5019"/>
            <ac:spMk id="18" creationId="{519C1F80-3D17-FC64-9317-719624DABFD5}"/>
          </ac:spMkLst>
        </pc:spChg>
        <pc:spChg chg="mod">
          <ac:chgData name="Dion3, Alain (SPAC/PSPC) (il-lui / he-him)" userId="b5972ad0-fee1-4393-9fd4-8bc589782ac7" providerId="ADAL" clId="{69C01E3A-CCA7-4109-9D87-E7DE28CE6ABA}" dt="2024-10-31T13:35:07.571" v="1072" actId="790"/>
          <ac:spMkLst>
            <pc:docMk/>
            <pc:sldMk cId="3612331858" sldId="5019"/>
            <ac:spMk id="22" creationId="{214C4DC3-8EE0-1713-1ECD-7D5216206F77}"/>
          </ac:spMkLst>
        </pc:spChg>
        <pc:spChg chg="mod">
          <ac:chgData name="Dion3, Alain (SPAC/PSPC) (il-lui / he-him)" userId="b5972ad0-fee1-4393-9fd4-8bc589782ac7" providerId="ADAL" clId="{69C01E3A-CCA7-4109-9D87-E7DE28CE6ABA}" dt="2024-10-31T13:35:07.571" v="1072" actId="790"/>
          <ac:spMkLst>
            <pc:docMk/>
            <pc:sldMk cId="3612331858" sldId="5019"/>
            <ac:spMk id="23" creationId="{D3F0E52C-5032-CE2B-869B-84F0E4411557}"/>
          </ac:spMkLst>
        </pc:spChg>
        <pc:spChg chg="mod">
          <ac:chgData name="Dion3, Alain (SPAC/PSPC) (il-lui / he-him)" userId="b5972ad0-fee1-4393-9fd4-8bc589782ac7" providerId="ADAL" clId="{69C01E3A-CCA7-4109-9D87-E7DE28CE6ABA}" dt="2024-10-31T13:35:07.571" v="1072" actId="790"/>
          <ac:spMkLst>
            <pc:docMk/>
            <pc:sldMk cId="3612331858" sldId="5019"/>
            <ac:spMk id="27" creationId="{0001B141-D9BB-8017-29EF-053F8B6D9C13}"/>
          </ac:spMkLst>
        </pc:spChg>
        <pc:spChg chg="mod">
          <ac:chgData name="Dion3, Alain (SPAC/PSPC) (il-lui / he-him)" userId="b5972ad0-fee1-4393-9fd4-8bc589782ac7" providerId="ADAL" clId="{69C01E3A-CCA7-4109-9D87-E7DE28CE6ABA}" dt="2024-10-31T13:35:07.571" v="1072" actId="790"/>
          <ac:spMkLst>
            <pc:docMk/>
            <pc:sldMk cId="3612331858" sldId="5019"/>
            <ac:spMk id="30" creationId="{EED4FC84-A7DE-C5A3-E291-F6489C629047}"/>
          </ac:spMkLst>
        </pc:spChg>
        <pc:spChg chg="mod">
          <ac:chgData name="Dion3, Alain (SPAC/PSPC) (il-lui / he-him)" userId="b5972ad0-fee1-4393-9fd4-8bc589782ac7" providerId="ADAL" clId="{69C01E3A-CCA7-4109-9D87-E7DE28CE6ABA}" dt="2024-10-31T13:35:07.571" v="1072" actId="790"/>
          <ac:spMkLst>
            <pc:docMk/>
            <pc:sldMk cId="3612331858" sldId="5019"/>
            <ac:spMk id="31" creationId="{FA2063E3-112B-BBA1-71C5-F098159C3310}"/>
          </ac:spMkLst>
        </pc:spChg>
        <pc:grpChg chg="replST">
          <ac:chgData name="Dion3, Alain (SPAC/PSPC) (il-lui / he-him)" userId="b5972ad0-fee1-4393-9fd4-8bc589782ac7" providerId="ADAL" clId="{69C01E3A-CCA7-4109-9D87-E7DE28CE6ABA}" dt="2024-10-30T17:25:31.967" v="285"/>
          <ac:grpSpMkLst>
            <pc:docMk/>
            <pc:sldMk cId="3612331858" sldId="5019"/>
            <ac:grpSpMk id="32" creationId="{FCDDE537-21B4-EDB5-806A-B7402C4B3D71}"/>
          </ac:grpSpMkLst>
        </pc:grpChg>
        <pc:grpChg chg="replST">
          <ac:chgData name="Dion3, Alain (SPAC/PSPC) (il-lui / he-him)" userId="b5972ad0-fee1-4393-9fd4-8bc589782ac7" providerId="ADAL" clId="{69C01E3A-CCA7-4109-9D87-E7DE28CE6ABA}" dt="2024-10-30T17:25:31.962" v="284"/>
          <ac:grpSpMkLst>
            <pc:docMk/>
            <pc:sldMk cId="3612331858" sldId="5019"/>
            <ac:grpSpMk id="33" creationId="{D32B64D6-D55C-F97D-0A47-8B1A8F1191DE}"/>
          </ac:grpSpMkLst>
        </pc:grpChg>
        <pc:grpChg chg="replST">
          <ac:chgData name="Dion3, Alain (SPAC/PSPC) (il-lui / he-him)" userId="b5972ad0-fee1-4393-9fd4-8bc589782ac7" providerId="ADAL" clId="{69C01E3A-CCA7-4109-9D87-E7DE28CE6ABA}" dt="2024-10-30T17:25:31.957" v="283"/>
          <ac:grpSpMkLst>
            <pc:docMk/>
            <pc:sldMk cId="3612331858" sldId="5019"/>
            <ac:grpSpMk id="34" creationId="{3184D169-4DFB-0DAB-542A-8A228186AD52}"/>
          </ac:grpSpMkLst>
        </pc:grpChg>
      </pc:sldChg>
      <pc:sldChg chg="addSp delSp modSp mod">
        <pc:chgData name="Dion3, Alain (SPAC/PSPC) (il-lui / he-him)" userId="b5972ad0-fee1-4393-9fd4-8bc589782ac7" providerId="ADAL" clId="{69C01E3A-CCA7-4109-9D87-E7DE28CE6ABA}" dt="2024-10-31T14:42:27.540" v="2334" actId="20577"/>
        <pc:sldMkLst>
          <pc:docMk/>
          <pc:sldMk cId="780127847" sldId="5020"/>
        </pc:sldMkLst>
        <pc:spChg chg="mod replST">
          <ac:chgData name="Dion3, Alain (SPAC/PSPC) (il-lui / he-him)" userId="b5972ad0-fee1-4393-9fd4-8bc589782ac7" providerId="ADAL" clId="{69C01E3A-CCA7-4109-9D87-E7DE28CE6ABA}" dt="2024-10-30T17:25:31.096" v="170"/>
          <ac:spMkLst>
            <pc:docMk/>
            <pc:sldMk cId="780127847" sldId="5020"/>
            <ac:spMk id="2" creationId="{459AFBF6-A3FE-12ED-8681-E058ECB7745D}"/>
          </ac:spMkLst>
        </pc:spChg>
        <pc:spChg chg="del mod replST">
          <ac:chgData name="Dion3, Alain (SPAC/PSPC) (il-lui / he-him)" userId="b5972ad0-fee1-4393-9fd4-8bc589782ac7" providerId="ADAL" clId="{69C01E3A-CCA7-4109-9D87-E7DE28CE6ABA}" dt="2024-10-30T17:34:29.230" v="460" actId="478"/>
          <ac:spMkLst>
            <pc:docMk/>
            <pc:sldMk cId="780127847" sldId="5020"/>
            <ac:spMk id="3" creationId="{CC8B02F3-0C27-03C9-5D56-EC07236B6660}"/>
          </ac:spMkLst>
        </pc:spChg>
        <pc:spChg chg="add mod">
          <ac:chgData name="Dion3, Alain (SPAC/PSPC) (il-lui / he-him)" userId="b5972ad0-fee1-4393-9fd4-8bc589782ac7" providerId="ADAL" clId="{69C01E3A-CCA7-4109-9D87-E7DE28CE6ABA}" dt="2024-10-31T14:42:27.540" v="2334" actId="20577"/>
          <ac:spMkLst>
            <pc:docMk/>
            <pc:sldMk cId="780127847" sldId="5020"/>
            <ac:spMk id="4" creationId="{093F3146-01EB-0F10-4FCB-E38AD840F002}"/>
          </ac:spMkLst>
        </pc:spChg>
      </pc:sldChg>
      <pc:sldChg chg="modSp del mod">
        <pc:chgData name="Dion3, Alain (SPAC/PSPC) (il-lui / he-him)" userId="b5972ad0-fee1-4393-9fd4-8bc589782ac7" providerId="ADAL" clId="{69C01E3A-CCA7-4109-9D87-E7DE28CE6ABA}" dt="2024-10-30T17:49:45.428" v="496" actId="47"/>
        <pc:sldMkLst>
          <pc:docMk/>
          <pc:sldMk cId="2411431044" sldId="5021"/>
        </pc:sldMkLst>
        <pc:spChg chg="mod replST">
          <ac:chgData name="Dion3, Alain (SPAC/PSPC) (il-lui / he-him)" userId="b5972ad0-fee1-4393-9fd4-8bc589782ac7" providerId="ADAL" clId="{69C01E3A-CCA7-4109-9D87-E7DE28CE6ABA}" dt="2024-10-30T17:47:20.856" v="494" actId="20577"/>
          <ac:spMkLst>
            <pc:docMk/>
            <pc:sldMk cId="2411431044" sldId="5021"/>
            <ac:spMk id="2" creationId="{9DE119AA-C27C-1F93-8533-D6E1F56A43A8}"/>
          </ac:spMkLst>
        </pc:spChg>
        <pc:spChg chg="replST">
          <ac:chgData name="Dion3, Alain (SPAC/PSPC) (il-lui / he-him)" userId="b5972ad0-fee1-4393-9fd4-8bc589782ac7" providerId="ADAL" clId="{69C01E3A-CCA7-4109-9D87-E7DE28CE6ABA}" dt="2024-10-30T17:25:31.329" v="197"/>
          <ac:spMkLst>
            <pc:docMk/>
            <pc:sldMk cId="2411431044" sldId="5021"/>
            <ac:spMk id="3" creationId="{B4C4C6A1-95F9-4595-D5F9-6FBFE059FF64}"/>
          </ac:spMkLst>
        </pc:spChg>
        <pc:spChg chg="replST">
          <ac:chgData name="Dion3, Alain (SPAC/PSPC) (il-lui / he-him)" userId="b5972ad0-fee1-4393-9fd4-8bc589782ac7" providerId="ADAL" clId="{69C01E3A-CCA7-4109-9D87-E7DE28CE6ABA}" dt="2024-10-30T17:25:31.196" v="183"/>
          <ac:spMkLst>
            <pc:docMk/>
            <pc:sldMk cId="2411431044" sldId="5021"/>
            <ac:spMk id="115" creationId="{99B313E4-68F8-0E05-784F-777B53C53AD8}"/>
          </ac:spMkLst>
        </pc:spChg>
        <pc:spChg chg="replST">
          <ac:chgData name="Dion3, Alain (SPAC/PSPC) (il-lui / he-him)" userId="b5972ad0-fee1-4393-9fd4-8bc589782ac7" providerId="ADAL" clId="{69C01E3A-CCA7-4109-9D87-E7DE28CE6ABA}" dt="2024-10-30T17:25:31.176" v="180"/>
          <ac:spMkLst>
            <pc:docMk/>
            <pc:sldMk cId="2411431044" sldId="5021"/>
            <ac:spMk id="117" creationId="{C9DAC2A6-C89F-2DC3-5552-32890189A83F}"/>
          </ac:spMkLst>
        </pc:spChg>
        <pc:spChg chg="replST">
          <ac:chgData name="Dion3, Alain (SPAC/PSPC) (il-lui / he-him)" userId="b5972ad0-fee1-4393-9fd4-8bc589782ac7" providerId="ADAL" clId="{69C01E3A-CCA7-4109-9D87-E7DE28CE6ABA}" dt="2024-10-30T17:25:31.265" v="189"/>
          <ac:spMkLst>
            <pc:docMk/>
            <pc:sldMk cId="2411431044" sldId="5021"/>
            <ac:spMk id="118" creationId="{03606830-0145-BF89-5080-5EDD4851A9CA}"/>
          </ac:spMkLst>
        </pc:spChg>
        <pc:spChg chg="replST">
          <ac:chgData name="Dion3, Alain (SPAC/PSPC) (il-lui / he-him)" userId="b5972ad0-fee1-4393-9fd4-8bc589782ac7" providerId="ADAL" clId="{69C01E3A-CCA7-4109-9D87-E7DE28CE6ABA}" dt="2024-10-30T17:25:31.227" v="187"/>
          <ac:spMkLst>
            <pc:docMk/>
            <pc:sldMk cId="2411431044" sldId="5021"/>
            <ac:spMk id="121" creationId="{66B4CDA5-6D84-9E6F-207A-6E00AF65A892}"/>
          </ac:spMkLst>
        </pc:spChg>
        <pc:spChg chg="replST">
          <ac:chgData name="Dion3, Alain (SPAC/PSPC) (il-lui / he-him)" userId="b5972ad0-fee1-4393-9fd4-8bc589782ac7" providerId="ADAL" clId="{69C01E3A-CCA7-4109-9D87-E7DE28CE6ABA}" dt="2024-10-30T17:25:31.181" v="181"/>
          <ac:spMkLst>
            <pc:docMk/>
            <pc:sldMk cId="2411431044" sldId="5021"/>
            <ac:spMk id="122" creationId="{A9D90BF1-5FA9-70F0-2114-74B647F61343}"/>
          </ac:spMkLst>
        </pc:spChg>
        <pc:spChg chg="replST">
          <ac:chgData name="Dion3, Alain (SPAC/PSPC) (il-lui / he-him)" userId="b5972ad0-fee1-4393-9fd4-8bc589782ac7" providerId="ADAL" clId="{69C01E3A-CCA7-4109-9D87-E7DE28CE6ABA}" dt="2024-10-30T17:25:31.188" v="182"/>
          <ac:spMkLst>
            <pc:docMk/>
            <pc:sldMk cId="2411431044" sldId="5021"/>
            <ac:spMk id="123" creationId="{96958ADE-A4CF-B97E-6CC3-E67FA3D6703E}"/>
          </ac:spMkLst>
        </pc:spChg>
        <pc:spChg chg="replST">
          <ac:chgData name="Dion3, Alain (SPAC/PSPC) (il-lui / he-him)" userId="b5972ad0-fee1-4393-9fd4-8bc589782ac7" providerId="ADAL" clId="{69C01E3A-CCA7-4109-9D87-E7DE28CE6ABA}" dt="2024-10-30T17:25:31.270" v="190"/>
          <ac:spMkLst>
            <pc:docMk/>
            <pc:sldMk cId="2411431044" sldId="5021"/>
            <ac:spMk id="125" creationId="{C3A1B379-6571-1C49-58FA-89CBE354E722}"/>
          </ac:spMkLst>
        </pc:spChg>
        <pc:spChg chg="replST">
          <ac:chgData name="Dion3, Alain (SPAC/PSPC) (il-lui / he-him)" userId="b5972ad0-fee1-4393-9fd4-8bc589782ac7" providerId="ADAL" clId="{69C01E3A-CCA7-4109-9D87-E7DE28CE6ABA}" dt="2024-10-30T17:25:31.277" v="191"/>
          <ac:spMkLst>
            <pc:docMk/>
            <pc:sldMk cId="2411431044" sldId="5021"/>
            <ac:spMk id="126" creationId="{1D166D08-6E2D-80DD-6808-092F6378AC03}"/>
          </ac:spMkLst>
        </pc:spChg>
        <pc:spChg chg="replST">
          <ac:chgData name="Dion3, Alain (SPAC/PSPC) (il-lui / he-him)" userId="b5972ad0-fee1-4393-9fd4-8bc589782ac7" providerId="ADAL" clId="{69C01E3A-CCA7-4109-9D87-E7DE28CE6ABA}" dt="2024-10-30T17:25:31.204" v="184"/>
          <ac:spMkLst>
            <pc:docMk/>
            <pc:sldMk cId="2411431044" sldId="5021"/>
            <ac:spMk id="130" creationId="{37927CF3-81AF-9EC4-5FAE-0F465D84F953}"/>
          </ac:spMkLst>
        </pc:spChg>
        <pc:spChg chg="replST">
          <ac:chgData name="Dion3, Alain (SPAC/PSPC) (il-lui / he-him)" userId="b5972ad0-fee1-4393-9fd4-8bc589782ac7" providerId="ADAL" clId="{69C01E3A-CCA7-4109-9D87-E7DE28CE6ABA}" dt="2024-10-30T17:25:31.296" v="193"/>
          <ac:spMkLst>
            <pc:docMk/>
            <pc:sldMk cId="2411431044" sldId="5021"/>
            <ac:spMk id="131" creationId="{F71F5B42-71A6-85F9-508A-7ED7FF32727F}"/>
          </ac:spMkLst>
        </pc:spChg>
        <pc:spChg chg="replST">
          <ac:chgData name="Dion3, Alain (SPAC/PSPC) (il-lui / he-him)" userId="b5972ad0-fee1-4393-9fd4-8bc589782ac7" providerId="ADAL" clId="{69C01E3A-CCA7-4109-9D87-E7DE28CE6ABA}" dt="2024-10-30T17:25:31.287" v="192"/>
          <ac:spMkLst>
            <pc:docMk/>
            <pc:sldMk cId="2411431044" sldId="5021"/>
            <ac:spMk id="132" creationId="{972E62F7-856E-E74B-98EE-589692A22E88}"/>
          </ac:spMkLst>
        </pc:spChg>
        <pc:grpChg chg="replST">
          <ac:chgData name="Dion3, Alain (SPAC/PSPC) (il-lui / he-him)" userId="b5972ad0-fee1-4393-9fd4-8bc589782ac7" providerId="ADAL" clId="{69C01E3A-CCA7-4109-9D87-E7DE28CE6ABA}" dt="2024-10-30T17:25:31.170" v="179"/>
          <ac:grpSpMkLst>
            <pc:docMk/>
            <pc:sldMk cId="2411431044" sldId="5021"/>
            <ac:grpSpMk id="119" creationId="{35030E9D-B4CE-0B9D-28C2-9F05C1F829FA}"/>
          </ac:grpSpMkLst>
        </pc:grpChg>
        <pc:grpChg chg="replST">
          <ac:chgData name="Dion3, Alain (SPAC/PSPC) (il-lui / he-him)" userId="b5972ad0-fee1-4393-9fd4-8bc589782ac7" providerId="ADAL" clId="{69C01E3A-CCA7-4109-9D87-E7DE28CE6ABA}" dt="2024-10-30T17:25:31.260" v="188"/>
          <ac:grpSpMkLst>
            <pc:docMk/>
            <pc:sldMk cId="2411431044" sldId="5021"/>
            <ac:grpSpMk id="120" creationId="{A738861C-A5D5-34D0-85CF-51FD1F064393}"/>
          </ac:grpSpMkLst>
        </pc:grpChg>
        <pc:grpChg chg="replST">
          <ac:chgData name="Dion3, Alain (SPAC/PSPC) (il-lui / he-him)" userId="b5972ad0-fee1-4393-9fd4-8bc589782ac7" providerId="ADAL" clId="{69C01E3A-CCA7-4109-9D87-E7DE28CE6ABA}" dt="2024-10-30T17:25:31.322" v="196"/>
          <ac:grpSpMkLst>
            <pc:docMk/>
            <pc:sldMk cId="2411431044" sldId="5021"/>
            <ac:grpSpMk id="135" creationId="{DFC4213B-24A7-04FD-6312-18CA7ABB7C6D}"/>
          </ac:grpSpMkLst>
        </pc:grpChg>
        <pc:picChg chg="replST">
          <ac:chgData name="Dion3, Alain (SPAC/PSPC) (il-lui / he-him)" userId="b5972ad0-fee1-4393-9fd4-8bc589782ac7" providerId="ADAL" clId="{69C01E3A-CCA7-4109-9D87-E7DE28CE6ABA}" dt="2024-10-30T17:25:31.211" v="185"/>
          <ac:picMkLst>
            <pc:docMk/>
            <pc:sldMk cId="2411431044" sldId="5021"/>
            <ac:picMk id="128" creationId="{72D7B425-467D-E300-99B1-FF1BD469BAA8}"/>
          </ac:picMkLst>
        </pc:picChg>
        <pc:picChg chg="replST">
          <ac:chgData name="Dion3, Alain (SPAC/PSPC) (il-lui / he-him)" userId="b5972ad0-fee1-4393-9fd4-8bc589782ac7" providerId="ADAL" clId="{69C01E3A-CCA7-4109-9D87-E7DE28CE6ABA}" dt="2024-10-30T17:25:31.219" v="186"/>
          <ac:picMkLst>
            <pc:docMk/>
            <pc:sldMk cId="2411431044" sldId="5021"/>
            <ac:picMk id="129" creationId="{E625BF06-9D3F-0649-97EF-1BA8A59764D7}"/>
          </ac:picMkLst>
        </pc:picChg>
        <pc:picChg chg="replST">
          <ac:chgData name="Dion3, Alain (SPAC/PSPC) (il-lui / he-him)" userId="b5972ad0-fee1-4393-9fd4-8bc589782ac7" providerId="ADAL" clId="{69C01E3A-CCA7-4109-9D87-E7DE28CE6ABA}" dt="2024-10-30T17:25:31.303" v="194"/>
          <ac:picMkLst>
            <pc:docMk/>
            <pc:sldMk cId="2411431044" sldId="5021"/>
            <ac:picMk id="133" creationId="{2C4D393D-1B54-98F0-19F7-D0F7CB3EDE01}"/>
          </ac:picMkLst>
        </pc:picChg>
        <pc:picChg chg="replST">
          <ac:chgData name="Dion3, Alain (SPAC/PSPC) (il-lui / he-him)" userId="b5972ad0-fee1-4393-9fd4-8bc589782ac7" providerId="ADAL" clId="{69C01E3A-CCA7-4109-9D87-E7DE28CE6ABA}" dt="2024-10-30T17:25:31.313" v="195"/>
          <ac:picMkLst>
            <pc:docMk/>
            <pc:sldMk cId="2411431044" sldId="5021"/>
            <ac:picMk id="134" creationId="{5BE65366-221B-6F0C-7BDE-1611F267E4E8}"/>
          </ac:picMkLst>
        </pc:picChg>
      </pc:sldChg>
      <pc:sldChg chg="modSp del mod">
        <pc:chgData name="Dion3, Alain (SPAC/PSPC) (il-lui / he-him)" userId="b5972ad0-fee1-4393-9fd4-8bc589782ac7" providerId="ADAL" clId="{69C01E3A-CCA7-4109-9D87-E7DE28CE6ABA}" dt="2024-10-30T17:52:15.207" v="507" actId="47"/>
        <pc:sldMkLst>
          <pc:docMk/>
          <pc:sldMk cId="3865673805" sldId="5022"/>
        </pc:sldMkLst>
        <pc:spChg chg="replST">
          <ac:chgData name="Dion3, Alain (SPAC/PSPC) (il-lui / he-him)" userId="b5972ad0-fee1-4393-9fd4-8bc589782ac7" providerId="ADAL" clId="{69C01E3A-CCA7-4109-9D87-E7DE28CE6ABA}" dt="2024-10-30T17:25:31.475" v="218"/>
          <ac:spMkLst>
            <pc:docMk/>
            <pc:sldMk cId="3865673805" sldId="5022"/>
            <ac:spMk id="3" creationId="{13DCD74A-6998-F023-D695-DD9F937CE93F}"/>
          </ac:spMkLst>
        </pc:spChg>
        <pc:spChg chg="replST">
          <ac:chgData name="Dion3, Alain (SPAC/PSPC) (il-lui / he-him)" userId="b5972ad0-fee1-4393-9fd4-8bc589782ac7" providerId="ADAL" clId="{69C01E3A-CCA7-4109-9D87-E7DE28CE6ABA}" dt="2024-10-30T17:25:31.336" v="198"/>
          <ac:spMkLst>
            <pc:docMk/>
            <pc:sldMk cId="3865673805" sldId="5022"/>
            <ac:spMk id="4" creationId="{5CFF1F66-C9F8-5499-40CC-51C8B8764C38}"/>
          </ac:spMkLst>
        </pc:spChg>
        <pc:spChg chg="replST">
          <ac:chgData name="Dion3, Alain (SPAC/PSPC) (il-lui / he-him)" userId="b5972ad0-fee1-4393-9fd4-8bc589782ac7" providerId="ADAL" clId="{69C01E3A-CCA7-4109-9D87-E7DE28CE6ABA}" dt="2024-10-30T17:25:31.481" v="219"/>
          <ac:spMkLst>
            <pc:docMk/>
            <pc:sldMk cId="3865673805" sldId="5022"/>
            <ac:spMk id="5" creationId="{252009ED-9673-DE27-8712-DE8DAD6E21E0}"/>
          </ac:spMkLst>
        </pc:spChg>
        <pc:spChg chg="replST">
          <ac:chgData name="Dion3, Alain (SPAC/PSPC) (il-lui / he-him)" userId="b5972ad0-fee1-4393-9fd4-8bc589782ac7" providerId="ADAL" clId="{69C01E3A-CCA7-4109-9D87-E7DE28CE6ABA}" dt="2024-10-30T17:25:31.487" v="220"/>
          <ac:spMkLst>
            <pc:docMk/>
            <pc:sldMk cId="3865673805" sldId="5022"/>
            <ac:spMk id="6" creationId="{E26D1384-8E76-9A8B-B475-DE870612B95D}"/>
          </ac:spMkLst>
        </pc:spChg>
        <pc:spChg chg="replST">
          <ac:chgData name="Dion3, Alain (SPAC/PSPC) (il-lui / he-him)" userId="b5972ad0-fee1-4393-9fd4-8bc589782ac7" providerId="ADAL" clId="{69C01E3A-CCA7-4109-9D87-E7DE28CE6ABA}" dt="2024-10-30T17:25:31.494" v="221"/>
          <ac:spMkLst>
            <pc:docMk/>
            <pc:sldMk cId="3865673805" sldId="5022"/>
            <ac:spMk id="8" creationId="{23E99F4F-F3B2-6B21-75A4-29202AF2EDAE}"/>
          </ac:spMkLst>
        </pc:spChg>
        <pc:spChg chg="replST">
          <ac:chgData name="Dion3, Alain (SPAC/PSPC) (il-lui / he-him)" userId="b5972ad0-fee1-4393-9fd4-8bc589782ac7" providerId="ADAL" clId="{69C01E3A-CCA7-4109-9D87-E7DE28CE6ABA}" dt="2024-10-30T17:25:31.434" v="212"/>
          <ac:spMkLst>
            <pc:docMk/>
            <pc:sldMk cId="3865673805" sldId="5022"/>
            <ac:spMk id="9" creationId="{0F0AB770-5A31-5D88-5DC8-C9BAB7804201}"/>
          </ac:spMkLst>
        </pc:spChg>
        <pc:spChg chg="replST">
          <ac:chgData name="Dion3, Alain (SPAC/PSPC) (il-lui / he-him)" userId="b5972ad0-fee1-4393-9fd4-8bc589782ac7" providerId="ADAL" clId="{69C01E3A-CCA7-4109-9D87-E7DE28CE6ABA}" dt="2024-10-30T17:25:31.425" v="211"/>
          <ac:spMkLst>
            <pc:docMk/>
            <pc:sldMk cId="3865673805" sldId="5022"/>
            <ac:spMk id="10" creationId="{E49B5449-959A-7DA6-0EA2-232C2BB62871}"/>
          </ac:spMkLst>
        </pc:spChg>
        <pc:spChg chg="replST">
          <ac:chgData name="Dion3, Alain (SPAC/PSPC) (il-lui / he-him)" userId="b5972ad0-fee1-4393-9fd4-8bc589782ac7" providerId="ADAL" clId="{69C01E3A-CCA7-4109-9D87-E7DE28CE6ABA}" dt="2024-10-30T17:25:31.440" v="213"/>
          <ac:spMkLst>
            <pc:docMk/>
            <pc:sldMk cId="3865673805" sldId="5022"/>
            <ac:spMk id="11" creationId="{4168E461-9019-0256-7847-A59482620E08}"/>
          </ac:spMkLst>
        </pc:spChg>
        <pc:spChg chg="replST">
          <ac:chgData name="Dion3, Alain (SPAC/PSPC) (il-lui / he-him)" userId="b5972ad0-fee1-4393-9fd4-8bc589782ac7" providerId="ADAL" clId="{69C01E3A-CCA7-4109-9D87-E7DE28CE6ABA}" dt="2024-10-30T17:25:31.418" v="210"/>
          <ac:spMkLst>
            <pc:docMk/>
            <pc:sldMk cId="3865673805" sldId="5022"/>
            <ac:spMk id="12" creationId="{641A1C60-574D-C16D-A641-07C3B4DFAF69}"/>
          </ac:spMkLst>
        </pc:spChg>
        <pc:spChg chg="replST">
          <ac:chgData name="Dion3, Alain (SPAC/PSPC) (il-lui / he-him)" userId="b5972ad0-fee1-4393-9fd4-8bc589782ac7" providerId="ADAL" clId="{69C01E3A-CCA7-4109-9D87-E7DE28CE6ABA}" dt="2024-10-30T17:25:31.451" v="215"/>
          <ac:spMkLst>
            <pc:docMk/>
            <pc:sldMk cId="3865673805" sldId="5022"/>
            <ac:spMk id="14" creationId="{E8367094-C7DF-CBCF-AF5E-8E4489281A4B}"/>
          </ac:spMkLst>
        </pc:spChg>
        <pc:spChg chg="replST">
          <ac:chgData name="Dion3, Alain (SPAC/PSPC) (il-lui / he-him)" userId="b5972ad0-fee1-4393-9fd4-8bc589782ac7" providerId="ADAL" clId="{69C01E3A-CCA7-4109-9D87-E7DE28CE6ABA}" dt="2024-10-30T17:25:31.506" v="223"/>
          <ac:spMkLst>
            <pc:docMk/>
            <pc:sldMk cId="3865673805" sldId="5022"/>
            <ac:spMk id="16" creationId="{60A4BDE2-E6E1-BEFA-6545-10F4A9C4B38E}"/>
          </ac:spMkLst>
        </pc:spChg>
        <pc:spChg chg="replST">
          <ac:chgData name="Dion3, Alain (SPAC/PSPC) (il-lui / he-him)" userId="b5972ad0-fee1-4393-9fd4-8bc589782ac7" providerId="ADAL" clId="{69C01E3A-CCA7-4109-9D87-E7DE28CE6ABA}" dt="2024-10-30T17:25:31.524" v="224"/>
          <ac:spMkLst>
            <pc:docMk/>
            <pc:sldMk cId="3865673805" sldId="5022"/>
            <ac:spMk id="17" creationId="{BE2C8F62-70A2-F29B-59A9-A79C3CD3C98F}"/>
          </ac:spMkLst>
        </pc:spChg>
        <pc:spChg chg="replST">
          <ac:chgData name="Dion3, Alain (SPAC/PSPC) (il-lui / he-him)" userId="b5972ad0-fee1-4393-9fd4-8bc589782ac7" providerId="ADAL" clId="{69C01E3A-CCA7-4109-9D87-E7DE28CE6ABA}" dt="2024-10-30T17:25:31.536" v="226"/>
          <ac:spMkLst>
            <pc:docMk/>
            <pc:sldMk cId="3865673805" sldId="5022"/>
            <ac:spMk id="19" creationId="{949E1EBB-B5B0-7C59-331C-F95BADD85A45}"/>
          </ac:spMkLst>
        </pc:spChg>
        <pc:spChg chg="replST">
          <ac:chgData name="Dion3, Alain (SPAC/PSPC) (il-lui / he-him)" userId="b5972ad0-fee1-4393-9fd4-8bc589782ac7" providerId="ADAL" clId="{69C01E3A-CCA7-4109-9D87-E7DE28CE6ABA}" dt="2024-10-30T17:25:31.468" v="217"/>
          <ac:spMkLst>
            <pc:docMk/>
            <pc:sldMk cId="3865673805" sldId="5022"/>
            <ac:spMk id="20" creationId="{B3A81356-6D92-78A8-3DC1-7B7F6043FA67}"/>
          </ac:spMkLst>
        </pc:spChg>
        <pc:spChg chg="replST">
          <ac:chgData name="Dion3, Alain (SPAC/PSPC) (il-lui / he-him)" userId="b5972ad0-fee1-4393-9fd4-8bc589782ac7" providerId="ADAL" clId="{69C01E3A-CCA7-4109-9D87-E7DE28CE6ABA}" dt="2024-10-30T17:25:31.541" v="227"/>
          <ac:spMkLst>
            <pc:docMk/>
            <pc:sldMk cId="3865673805" sldId="5022"/>
            <ac:spMk id="21" creationId="{8B26B707-9B50-D4B7-CE03-18C890FBEA1E}"/>
          </ac:spMkLst>
        </pc:spChg>
        <pc:spChg chg="replST">
          <ac:chgData name="Dion3, Alain (SPAC/PSPC) (il-lui / he-him)" userId="b5972ad0-fee1-4393-9fd4-8bc589782ac7" providerId="ADAL" clId="{69C01E3A-CCA7-4109-9D87-E7DE28CE6ABA}" dt="2024-10-30T17:25:31.551" v="228"/>
          <ac:spMkLst>
            <pc:docMk/>
            <pc:sldMk cId="3865673805" sldId="5022"/>
            <ac:spMk id="22" creationId="{153AD99E-969D-CDB0-2F1A-03C010B4CA2F}"/>
          </ac:spMkLst>
        </pc:spChg>
        <pc:spChg chg="replST">
          <ac:chgData name="Dion3, Alain (SPAC/PSPC) (il-lui / he-him)" userId="b5972ad0-fee1-4393-9fd4-8bc589782ac7" providerId="ADAL" clId="{69C01E3A-CCA7-4109-9D87-E7DE28CE6ABA}" dt="2024-10-30T17:25:31.557" v="229"/>
          <ac:spMkLst>
            <pc:docMk/>
            <pc:sldMk cId="3865673805" sldId="5022"/>
            <ac:spMk id="23" creationId="{5009506C-9AF6-D811-B74A-D0334300F2A4}"/>
          </ac:spMkLst>
        </pc:spChg>
        <pc:spChg chg="replST">
          <ac:chgData name="Dion3, Alain (SPAC/PSPC) (il-lui / he-him)" userId="b5972ad0-fee1-4393-9fd4-8bc589782ac7" providerId="ADAL" clId="{69C01E3A-CCA7-4109-9D87-E7DE28CE6ABA}" dt="2024-10-30T17:25:31.568" v="231"/>
          <ac:spMkLst>
            <pc:docMk/>
            <pc:sldMk cId="3865673805" sldId="5022"/>
            <ac:spMk id="25" creationId="{BB5B164B-32E5-447E-7986-F11E54636D93}"/>
          </ac:spMkLst>
        </pc:spChg>
        <pc:spChg chg="replST">
          <ac:chgData name="Dion3, Alain (SPAC/PSPC) (il-lui / he-him)" userId="b5972ad0-fee1-4393-9fd4-8bc589782ac7" providerId="ADAL" clId="{69C01E3A-CCA7-4109-9D87-E7DE28CE6ABA}" dt="2024-10-30T17:25:31.583" v="233"/>
          <ac:spMkLst>
            <pc:docMk/>
            <pc:sldMk cId="3865673805" sldId="5022"/>
            <ac:spMk id="26" creationId="{F54B95CE-09AF-C40B-10E8-38309EBC5D2C}"/>
          </ac:spMkLst>
        </pc:spChg>
        <pc:spChg chg="replST">
          <ac:chgData name="Dion3, Alain (SPAC/PSPC) (il-lui / he-him)" userId="b5972ad0-fee1-4393-9fd4-8bc589782ac7" providerId="ADAL" clId="{69C01E3A-CCA7-4109-9D87-E7DE28CE6ABA}" dt="2024-10-30T17:25:31.589" v="234"/>
          <ac:spMkLst>
            <pc:docMk/>
            <pc:sldMk cId="3865673805" sldId="5022"/>
            <ac:spMk id="27" creationId="{00CEC2D0-B816-A4AA-98FF-42B3C53A244F}"/>
          </ac:spMkLst>
        </pc:spChg>
        <pc:spChg chg="replST">
          <ac:chgData name="Dion3, Alain (SPAC/PSPC) (il-lui / he-him)" userId="b5972ad0-fee1-4393-9fd4-8bc589782ac7" providerId="ADAL" clId="{69C01E3A-CCA7-4109-9D87-E7DE28CE6ABA}" dt="2024-10-30T17:25:31.593" v="235"/>
          <ac:spMkLst>
            <pc:docMk/>
            <pc:sldMk cId="3865673805" sldId="5022"/>
            <ac:spMk id="28" creationId="{E24B5A4D-D3D0-4B88-EE19-E2BACA852406}"/>
          </ac:spMkLst>
        </pc:spChg>
        <pc:spChg chg="replST">
          <ac:chgData name="Dion3, Alain (SPAC/PSPC) (il-lui / he-him)" userId="b5972ad0-fee1-4393-9fd4-8bc589782ac7" providerId="ADAL" clId="{69C01E3A-CCA7-4109-9D87-E7DE28CE6ABA}" dt="2024-10-30T17:25:31.600" v="236"/>
          <ac:spMkLst>
            <pc:docMk/>
            <pc:sldMk cId="3865673805" sldId="5022"/>
            <ac:spMk id="29" creationId="{EDA9D9ED-7A9A-1762-D5B3-9D3978C4998E}"/>
          </ac:spMkLst>
        </pc:spChg>
        <pc:spChg chg="replST">
          <ac:chgData name="Dion3, Alain (SPAC/PSPC) (il-lui / he-him)" userId="b5972ad0-fee1-4393-9fd4-8bc589782ac7" providerId="ADAL" clId="{69C01E3A-CCA7-4109-9D87-E7DE28CE6ABA}" dt="2024-10-30T17:25:31.614" v="238"/>
          <ac:spMkLst>
            <pc:docMk/>
            <pc:sldMk cId="3865673805" sldId="5022"/>
            <ac:spMk id="31" creationId="{89EC5A0B-8CD2-4D4C-3E71-927F1BFDB370}"/>
          </ac:spMkLst>
        </pc:spChg>
        <pc:spChg chg="replST">
          <ac:chgData name="Dion3, Alain (SPAC/PSPC) (il-lui / he-him)" userId="b5972ad0-fee1-4393-9fd4-8bc589782ac7" providerId="ADAL" clId="{69C01E3A-CCA7-4109-9D87-E7DE28CE6ABA}" dt="2024-10-30T17:25:31.619" v="239"/>
          <ac:spMkLst>
            <pc:docMk/>
            <pc:sldMk cId="3865673805" sldId="5022"/>
            <ac:spMk id="32" creationId="{CA864140-7987-A572-621D-80A839AD187F}"/>
          </ac:spMkLst>
        </pc:spChg>
        <pc:spChg chg="replST">
          <ac:chgData name="Dion3, Alain (SPAC/PSPC) (il-lui / he-him)" userId="b5972ad0-fee1-4393-9fd4-8bc589782ac7" providerId="ADAL" clId="{69C01E3A-CCA7-4109-9D87-E7DE28CE6ABA}" dt="2024-10-30T17:25:31.639" v="241"/>
          <ac:spMkLst>
            <pc:docMk/>
            <pc:sldMk cId="3865673805" sldId="5022"/>
            <ac:spMk id="34" creationId="{DED31946-3A88-3B27-CAFD-D81126891350}"/>
          </ac:spMkLst>
        </pc:spChg>
        <pc:spChg chg="replST">
          <ac:chgData name="Dion3, Alain (SPAC/PSPC) (il-lui / he-him)" userId="b5972ad0-fee1-4393-9fd4-8bc589782ac7" providerId="ADAL" clId="{69C01E3A-CCA7-4109-9D87-E7DE28CE6ABA}" dt="2024-10-30T17:25:31.648" v="242"/>
          <ac:spMkLst>
            <pc:docMk/>
            <pc:sldMk cId="3865673805" sldId="5022"/>
            <ac:spMk id="35" creationId="{0AD30AF3-6F71-6556-CAD0-415C4A0ED505}"/>
          </ac:spMkLst>
        </pc:spChg>
        <pc:spChg chg="replST">
          <ac:chgData name="Dion3, Alain (SPAC/PSPC) (il-lui / he-him)" userId="b5972ad0-fee1-4393-9fd4-8bc589782ac7" providerId="ADAL" clId="{69C01E3A-CCA7-4109-9D87-E7DE28CE6ABA}" dt="2024-10-30T17:25:31.654" v="243"/>
          <ac:spMkLst>
            <pc:docMk/>
            <pc:sldMk cId="3865673805" sldId="5022"/>
            <ac:spMk id="36" creationId="{5C90F134-E0D2-DCDE-ECD6-B419D029FA78}"/>
          </ac:spMkLst>
        </pc:spChg>
        <pc:spChg chg="replST">
          <ac:chgData name="Dion3, Alain (SPAC/PSPC) (il-lui / he-him)" userId="b5972ad0-fee1-4393-9fd4-8bc589782ac7" providerId="ADAL" clId="{69C01E3A-CCA7-4109-9D87-E7DE28CE6ABA}" dt="2024-10-30T17:25:31.659" v="244"/>
          <ac:spMkLst>
            <pc:docMk/>
            <pc:sldMk cId="3865673805" sldId="5022"/>
            <ac:spMk id="37" creationId="{18901499-BBEF-67D4-3F59-37A24ED0BEED}"/>
          </ac:spMkLst>
        </pc:spChg>
        <pc:spChg chg="replST">
          <ac:chgData name="Dion3, Alain (SPAC/PSPC) (il-lui / he-him)" userId="b5972ad0-fee1-4393-9fd4-8bc589782ac7" providerId="ADAL" clId="{69C01E3A-CCA7-4109-9D87-E7DE28CE6ABA}" dt="2024-10-30T17:25:31.665" v="245"/>
          <ac:spMkLst>
            <pc:docMk/>
            <pc:sldMk cId="3865673805" sldId="5022"/>
            <ac:spMk id="38" creationId="{C4B3ACDF-F9DE-5445-B161-1597312A56A1}"/>
          </ac:spMkLst>
        </pc:spChg>
        <pc:spChg chg="replST">
          <ac:chgData name="Dion3, Alain (SPAC/PSPC) (il-lui / he-him)" userId="b5972ad0-fee1-4393-9fd4-8bc589782ac7" providerId="ADAL" clId="{69C01E3A-CCA7-4109-9D87-E7DE28CE6ABA}" dt="2024-10-30T17:25:31.681" v="247"/>
          <ac:spMkLst>
            <pc:docMk/>
            <pc:sldMk cId="3865673805" sldId="5022"/>
            <ac:spMk id="40" creationId="{64D76BAA-855E-6319-281A-AEEFD5B609B2}"/>
          </ac:spMkLst>
        </pc:spChg>
        <pc:spChg chg="replST">
          <ac:chgData name="Dion3, Alain (SPAC/PSPC) (il-lui / he-him)" userId="b5972ad0-fee1-4393-9fd4-8bc589782ac7" providerId="ADAL" clId="{69C01E3A-CCA7-4109-9D87-E7DE28CE6ABA}" dt="2024-10-30T17:25:31.690" v="248"/>
          <ac:spMkLst>
            <pc:docMk/>
            <pc:sldMk cId="3865673805" sldId="5022"/>
            <ac:spMk id="41" creationId="{D4C84D6D-4280-615B-12A1-87A6343C60F4}"/>
          </ac:spMkLst>
        </pc:spChg>
        <pc:spChg chg="replST">
          <ac:chgData name="Dion3, Alain (SPAC/PSPC) (il-lui / he-him)" userId="b5972ad0-fee1-4393-9fd4-8bc589782ac7" providerId="ADAL" clId="{69C01E3A-CCA7-4109-9D87-E7DE28CE6ABA}" dt="2024-10-30T17:25:31.341" v="199"/>
          <ac:spMkLst>
            <pc:docMk/>
            <pc:sldMk cId="3865673805" sldId="5022"/>
            <ac:spMk id="47" creationId="{6F061153-9151-0D2F-6C2F-16E75EEC8F0B}"/>
          </ac:spMkLst>
        </pc:spChg>
        <pc:spChg chg="replST">
          <ac:chgData name="Dion3, Alain (SPAC/PSPC) (il-lui / he-him)" userId="b5972ad0-fee1-4393-9fd4-8bc589782ac7" providerId="ADAL" clId="{69C01E3A-CCA7-4109-9D87-E7DE28CE6ABA}" dt="2024-10-30T17:25:31.350" v="200"/>
          <ac:spMkLst>
            <pc:docMk/>
            <pc:sldMk cId="3865673805" sldId="5022"/>
            <ac:spMk id="48" creationId="{6B16CA0D-CB1F-D6ED-89BE-F6616AE840BF}"/>
          </ac:spMkLst>
        </pc:spChg>
        <pc:spChg chg="replST">
          <ac:chgData name="Dion3, Alain (SPAC/PSPC) (il-lui / he-him)" userId="b5972ad0-fee1-4393-9fd4-8bc589782ac7" providerId="ADAL" clId="{69C01E3A-CCA7-4109-9D87-E7DE28CE6ABA}" dt="2024-10-30T17:25:31.358" v="201"/>
          <ac:spMkLst>
            <pc:docMk/>
            <pc:sldMk cId="3865673805" sldId="5022"/>
            <ac:spMk id="51" creationId="{F808FB0B-95FB-588D-74D4-560CE24F641C}"/>
          </ac:spMkLst>
        </pc:spChg>
        <pc:spChg chg="replST">
          <ac:chgData name="Dion3, Alain (SPAC/PSPC) (il-lui / he-him)" userId="b5972ad0-fee1-4393-9fd4-8bc589782ac7" providerId="ADAL" clId="{69C01E3A-CCA7-4109-9D87-E7DE28CE6ABA}" dt="2024-10-30T17:25:31.366" v="202"/>
          <ac:spMkLst>
            <pc:docMk/>
            <pc:sldMk cId="3865673805" sldId="5022"/>
            <ac:spMk id="52" creationId="{FB1CCAB6-4244-F5C1-D619-C44E7D9FA0E1}"/>
          </ac:spMkLst>
        </pc:spChg>
        <pc:spChg chg="replST">
          <ac:chgData name="Dion3, Alain (SPAC/PSPC) (il-lui / he-him)" userId="b5972ad0-fee1-4393-9fd4-8bc589782ac7" providerId="ADAL" clId="{69C01E3A-CCA7-4109-9D87-E7DE28CE6ABA}" dt="2024-10-30T17:25:31.371" v="203"/>
          <ac:spMkLst>
            <pc:docMk/>
            <pc:sldMk cId="3865673805" sldId="5022"/>
            <ac:spMk id="53" creationId="{77D85CA5-B859-31BE-A852-18BCBED95D02}"/>
          </ac:spMkLst>
        </pc:spChg>
        <pc:spChg chg="replST">
          <ac:chgData name="Dion3, Alain (SPAC/PSPC) (il-lui / he-him)" userId="b5972ad0-fee1-4393-9fd4-8bc589782ac7" providerId="ADAL" clId="{69C01E3A-CCA7-4109-9D87-E7DE28CE6ABA}" dt="2024-10-30T17:25:31.376" v="204"/>
          <ac:spMkLst>
            <pc:docMk/>
            <pc:sldMk cId="3865673805" sldId="5022"/>
            <ac:spMk id="54" creationId="{D1AF6197-0772-06C0-D39E-B685CA3A6EAD}"/>
          </ac:spMkLst>
        </pc:spChg>
        <pc:spChg chg="replST">
          <ac:chgData name="Dion3, Alain (SPAC/PSPC) (il-lui / he-him)" userId="b5972ad0-fee1-4393-9fd4-8bc589782ac7" providerId="ADAL" clId="{69C01E3A-CCA7-4109-9D87-E7DE28CE6ABA}" dt="2024-10-30T17:25:31.391" v="206"/>
          <ac:spMkLst>
            <pc:docMk/>
            <pc:sldMk cId="3865673805" sldId="5022"/>
            <ac:spMk id="55" creationId="{7A1A59FF-8821-4234-BA1F-86BE5197E628}"/>
          </ac:spMkLst>
        </pc:spChg>
        <pc:spChg chg="replST">
          <ac:chgData name="Dion3, Alain (SPAC/PSPC) (il-lui / he-him)" userId="b5972ad0-fee1-4393-9fd4-8bc589782ac7" providerId="ADAL" clId="{69C01E3A-CCA7-4109-9D87-E7DE28CE6ABA}" dt="2024-10-30T17:25:31.382" v="205"/>
          <ac:spMkLst>
            <pc:docMk/>
            <pc:sldMk cId="3865673805" sldId="5022"/>
            <ac:spMk id="56" creationId="{ACA4AAD1-FCBE-4C24-0B3D-DE15D577F00F}"/>
          </ac:spMkLst>
        </pc:spChg>
        <pc:spChg chg="replST">
          <ac:chgData name="Dion3, Alain (SPAC/PSPC) (il-lui / he-him)" userId="b5972ad0-fee1-4393-9fd4-8bc589782ac7" providerId="ADAL" clId="{69C01E3A-CCA7-4109-9D87-E7DE28CE6ABA}" dt="2024-10-30T17:25:31.403" v="208"/>
          <ac:spMkLst>
            <pc:docMk/>
            <pc:sldMk cId="3865673805" sldId="5022"/>
            <ac:spMk id="57" creationId="{80C64189-743E-1D6F-BC38-898A98A32465}"/>
          </ac:spMkLst>
        </pc:spChg>
        <pc:spChg chg="replST">
          <ac:chgData name="Dion3, Alain (SPAC/PSPC) (il-lui / he-him)" userId="b5972ad0-fee1-4393-9fd4-8bc589782ac7" providerId="ADAL" clId="{69C01E3A-CCA7-4109-9D87-E7DE28CE6ABA}" dt="2024-10-30T17:25:31.397" v="207"/>
          <ac:spMkLst>
            <pc:docMk/>
            <pc:sldMk cId="3865673805" sldId="5022"/>
            <ac:spMk id="58" creationId="{62D48345-9A67-33B9-271D-D2722B58526B}"/>
          </ac:spMkLst>
        </pc:spChg>
        <pc:spChg chg="replST">
          <ac:chgData name="Dion3, Alain (SPAC/PSPC) (il-lui / he-him)" userId="b5972ad0-fee1-4393-9fd4-8bc589782ac7" providerId="ADAL" clId="{69C01E3A-CCA7-4109-9D87-E7DE28CE6ABA}" dt="2024-10-30T17:25:31.408" v="209"/>
          <ac:spMkLst>
            <pc:docMk/>
            <pc:sldMk cId="3865673805" sldId="5022"/>
            <ac:spMk id="59" creationId="{9EEF3366-3763-B493-96F0-E3984E5F4223}"/>
          </ac:spMkLst>
        </pc:spChg>
        <pc:cxnChg chg="replST">
          <ac:chgData name="Dion3, Alain (SPAC/PSPC) (il-lui / he-him)" userId="b5972ad0-fee1-4393-9fd4-8bc589782ac7" providerId="ADAL" clId="{69C01E3A-CCA7-4109-9D87-E7DE28CE6ABA}" dt="2024-10-30T17:25:31.530" v="225"/>
          <ac:cxnSpMkLst>
            <pc:docMk/>
            <pc:sldMk cId="3865673805" sldId="5022"/>
            <ac:cxnSpMk id="2" creationId="{C96F2F8A-400E-A20B-385F-5F541FA16016}"/>
          </ac:cxnSpMkLst>
        </pc:cxnChg>
        <pc:cxnChg chg="replST">
          <ac:chgData name="Dion3, Alain (SPAC/PSPC) (il-lui / he-him)" userId="b5972ad0-fee1-4393-9fd4-8bc589782ac7" providerId="ADAL" clId="{69C01E3A-CCA7-4109-9D87-E7DE28CE6ABA}" dt="2024-10-30T17:25:31.460" v="216"/>
          <ac:cxnSpMkLst>
            <pc:docMk/>
            <pc:sldMk cId="3865673805" sldId="5022"/>
            <ac:cxnSpMk id="7" creationId="{2BE5BEB0-7BD4-29A1-5362-0AE998BE7E93}"/>
          </ac:cxnSpMkLst>
        </pc:cxnChg>
        <pc:cxnChg chg="replST">
          <ac:chgData name="Dion3, Alain (SPAC/PSPC) (il-lui / he-him)" userId="b5972ad0-fee1-4393-9fd4-8bc589782ac7" providerId="ADAL" clId="{69C01E3A-CCA7-4109-9D87-E7DE28CE6ABA}" dt="2024-10-30T17:25:31.445" v="214"/>
          <ac:cxnSpMkLst>
            <pc:docMk/>
            <pc:sldMk cId="3865673805" sldId="5022"/>
            <ac:cxnSpMk id="13" creationId="{10E575E7-B168-6981-57EE-8C43273FD31D}"/>
          </ac:cxnSpMkLst>
        </pc:cxnChg>
        <pc:cxnChg chg="replST">
          <ac:chgData name="Dion3, Alain (SPAC/PSPC) (il-lui / he-him)" userId="b5972ad0-fee1-4393-9fd4-8bc589782ac7" providerId="ADAL" clId="{69C01E3A-CCA7-4109-9D87-E7DE28CE6ABA}" dt="2024-10-30T17:25:31.501" v="222"/>
          <ac:cxnSpMkLst>
            <pc:docMk/>
            <pc:sldMk cId="3865673805" sldId="5022"/>
            <ac:cxnSpMk id="15" creationId="{7983B277-C430-B365-49FF-CBA08A0541FA}"/>
          </ac:cxnSpMkLst>
        </pc:cxnChg>
        <pc:cxnChg chg="replST">
          <ac:chgData name="Dion3, Alain (SPAC/PSPC) (il-lui / he-him)" userId="b5972ad0-fee1-4393-9fd4-8bc589782ac7" providerId="ADAL" clId="{69C01E3A-CCA7-4109-9D87-E7DE28CE6ABA}" dt="2024-10-30T17:25:31.576" v="232"/>
          <ac:cxnSpMkLst>
            <pc:docMk/>
            <pc:sldMk cId="3865673805" sldId="5022"/>
            <ac:cxnSpMk id="18" creationId="{F6F2A91A-CE4A-5B32-5011-9E94214D716D}"/>
          </ac:cxnSpMkLst>
        </pc:cxnChg>
        <pc:cxnChg chg="replST">
          <ac:chgData name="Dion3, Alain (SPAC/PSPC) (il-lui / he-him)" userId="b5972ad0-fee1-4393-9fd4-8bc589782ac7" providerId="ADAL" clId="{69C01E3A-CCA7-4109-9D87-E7DE28CE6ABA}" dt="2024-10-30T17:25:31.563" v="230"/>
          <ac:cxnSpMkLst>
            <pc:docMk/>
            <pc:sldMk cId="3865673805" sldId="5022"/>
            <ac:cxnSpMk id="24" creationId="{4318A952-A3B7-1777-6453-931747D02D1E}"/>
          </ac:cxnSpMkLst>
        </pc:cxnChg>
        <pc:cxnChg chg="replST">
          <ac:chgData name="Dion3, Alain (SPAC/PSPC) (il-lui / he-him)" userId="b5972ad0-fee1-4393-9fd4-8bc589782ac7" providerId="ADAL" clId="{69C01E3A-CCA7-4109-9D87-E7DE28CE6ABA}" dt="2024-10-30T17:25:31.608" v="237"/>
          <ac:cxnSpMkLst>
            <pc:docMk/>
            <pc:sldMk cId="3865673805" sldId="5022"/>
            <ac:cxnSpMk id="30" creationId="{1915A0C8-9419-C7AD-D3E1-83CFAEC77A44}"/>
          </ac:cxnSpMkLst>
        </pc:cxnChg>
        <pc:cxnChg chg="replST">
          <ac:chgData name="Dion3, Alain (SPAC/PSPC) (il-lui / he-him)" userId="b5972ad0-fee1-4393-9fd4-8bc589782ac7" providerId="ADAL" clId="{69C01E3A-CCA7-4109-9D87-E7DE28CE6ABA}" dt="2024-10-30T17:25:31.630" v="240"/>
          <ac:cxnSpMkLst>
            <pc:docMk/>
            <pc:sldMk cId="3865673805" sldId="5022"/>
            <ac:cxnSpMk id="33" creationId="{D19EECE6-254E-49CD-0954-2FF1EB8394B8}"/>
          </ac:cxnSpMkLst>
        </pc:cxnChg>
        <pc:cxnChg chg="replST">
          <ac:chgData name="Dion3, Alain (SPAC/PSPC) (il-lui / he-him)" userId="b5972ad0-fee1-4393-9fd4-8bc589782ac7" providerId="ADAL" clId="{69C01E3A-CCA7-4109-9D87-E7DE28CE6ABA}" dt="2024-10-30T17:25:31.672" v="246"/>
          <ac:cxnSpMkLst>
            <pc:docMk/>
            <pc:sldMk cId="3865673805" sldId="5022"/>
            <ac:cxnSpMk id="39" creationId="{4BB8F730-2294-2BB6-31E9-6C5CD1F8760C}"/>
          </ac:cxnSpMkLst>
        </pc:cxnChg>
        <pc:cxnChg chg="replST">
          <ac:chgData name="Dion3, Alain (SPAC/PSPC) (il-lui / he-him)" userId="b5972ad0-fee1-4393-9fd4-8bc589782ac7" providerId="ADAL" clId="{69C01E3A-CCA7-4109-9D87-E7DE28CE6ABA}" dt="2024-10-30T17:25:31.699" v="249"/>
          <ac:cxnSpMkLst>
            <pc:docMk/>
            <pc:sldMk cId="3865673805" sldId="5022"/>
            <ac:cxnSpMk id="42" creationId="{13A6E390-93FA-DA58-F68C-B5F177D1BD2C}"/>
          </ac:cxnSpMkLst>
        </pc:cxnChg>
        <pc:cxnChg chg="replST">
          <ac:chgData name="Dion3, Alain (SPAC/PSPC) (il-lui / he-him)" userId="b5972ad0-fee1-4393-9fd4-8bc589782ac7" providerId="ADAL" clId="{69C01E3A-CCA7-4109-9D87-E7DE28CE6ABA}" dt="2024-10-30T17:25:31.705" v="250"/>
          <ac:cxnSpMkLst>
            <pc:docMk/>
            <pc:sldMk cId="3865673805" sldId="5022"/>
            <ac:cxnSpMk id="43" creationId="{7B3B1AD4-3FA7-7099-D700-61286027097C}"/>
          </ac:cxnSpMkLst>
        </pc:cxnChg>
        <pc:cxnChg chg="replST">
          <ac:chgData name="Dion3, Alain (SPAC/PSPC) (il-lui / he-him)" userId="b5972ad0-fee1-4393-9fd4-8bc589782ac7" providerId="ADAL" clId="{69C01E3A-CCA7-4109-9D87-E7DE28CE6ABA}" dt="2024-10-30T17:25:31.710" v="251"/>
          <ac:cxnSpMkLst>
            <pc:docMk/>
            <pc:sldMk cId="3865673805" sldId="5022"/>
            <ac:cxnSpMk id="63" creationId="{B32AA51F-1724-BA56-E823-B032DD85AA41}"/>
          </ac:cxnSpMkLst>
        </pc:cxnChg>
      </pc:sldChg>
      <pc:sldChg chg="modSp mod">
        <pc:chgData name="Dion3, Alain (SPAC/PSPC) (il-lui / he-him)" userId="b5972ad0-fee1-4393-9fd4-8bc589782ac7" providerId="ADAL" clId="{69C01E3A-CCA7-4109-9D87-E7DE28CE6ABA}" dt="2024-10-31T13:02:33.927" v="529" actId="790"/>
        <pc:sldMkLst>
          <pc:docMk/>
          <pc:sldMk cId="2648589367" sldId="5023"/>
        </pc:sldMkLst>
        <pc:spChg chg="mod replST">
          <ac:chgData name="Dion3, Alain (SPAC/PSPC) (il-lui / he-him)" userId="b5972ad0-fee1-4393-9fd4-8bc589782ac7" providerId="ADAL" clId="{69C01E3A-CCA7-4109-9D87-E7DE28CE6ABA}" dt="2024-10-31T13:02:33.927" v="529" actId="790"/>
          <ac:spMkLst>
            <pc:docMk/>
            <pc:sldMk cId="2648589367" sldId="5023"/>
            <ac:spMk id="3" creationId="{DE69AC7C-2B0D-CF31-48EE-53792B4D724E}"/>
          </ac:spMkLst>
        </pc:spChg>
        <pc:spChg chg="mod replST">
          <ac:chgData name="Dion3, Alain (SPAC/PSPC) (il-lui / he-him)" userId="b5972ad0-fee1-4393-9fd4-8bc589782ac7" providerId="ADAL" clId="{69C01E3A-CCA7-4109-9D87-E7DE28CE6ABA}" dt="2024-10-31T13:02:33.927" v="529" actId="790"/>
          <ac:spMkLst>
            <pc:docMk/>
            <pc:sldMk cId="2648589367" sldId="5023"/>
            <ac:spMk id="5" creationId="{A25F31FD-D91B-2F1F-48B5-8229C5FFF47F}"/>
          </ac:spMkLst>
        </pc:spChg>
        <pc:spChg chg="mod">
          <ac:chgData name="Dion3, Alain (SPAC/PSPC) (il-lui / he-him)" userId="b5972ad0-fee1-4393-9fd4-8bc589782ac7" providerId="ADAL" clId="{69C01E3A-CCA7-4109-9D87-E7DE28CE6ABA}" dt="2024-10-31T13:02:33.927" v="529" actId="790"/>
          <ac:spMkLst>
            <pc:docMk/>
            <pc:sldMk cId="2648589367" sldId="5023"/>
            <ac:spMk id="28" creationId="{05B7BA9A-A431-40EF-F3A2-3B3C7851D452}"/>
          </ac:spMkLst>
        </pc:spChg>
        <pc:spChg chg="mod">
          <ac:chgData name="Dion3, Alain (SPAC/PSPC) (il-lui / he-him)" userId="b5972ad0-fee1-4393-9fd4-8bc589782ac7" providerId="ADAL" clId="{69C01E3A-CCA7-4109-9D87-E7DE28CE6ABA}" dt="2024-10-31T13:02:33.927" v="529" actId="790"/>
          <ac:spMkLst>
            <pc:docMk/>
            <pc:sldMk cId="2648589367" sldId="5023"/>
            <ac:spMk id="31" creationId="{6ACEFB4F-F092-80B3-5010-EF9617D5330E}"/>
          </ac:spMkLst>
        </pc:spChg>
        <pc:spChg chg="mod">
          <ac:chgData name="Dion3, Alain (SPAC/PSPC) (il-lui / he-him)" userId="b5972ad0-fee1-4393-9fd4-8bc589782ac7" providerId="ADAL" clId="{69C01E3A-CCA7-4109-9D87-E7DE28CE6ABA}" dt="2024-10-31T13:02:33.927" v="529" actId="790"/>
          <ac:spMkLst>
            <pc:docMk/>
            <pc:sldMk cId="2648589367" sldId="5023"/>
            <ac:spMk id="32" creationId="{A2BDCF0E-ABB4-1B44-1450-FCFBFF1F5003}"/>
          </ac:spMkLst>
        </pc:spChg>
        <pc:spChg chg="mod">
          <ac:chgData name="Dion3, Alain (SPAC/PSPC) (il-lui / he-him)" userId="b5972ad0-fee1-4393-9fd4-8bc589782ac7" providerId="ADAL" clId="{69C01E3A-CCA7-4109-9D87-E7DE28CE6ABA}" dt="2024-10-31T13:02:33.927" v="529" actId="790"/>
          <ac:spMkLst>
            <pc:docMk/>
            <pc:sldMk cId="2648589367" sldId="5023"/>
            <ac:spMk id="33" creationId="{D65CC404-CAC3-6E60-A318-20FF342575B0}"/>
          </ac:spMkLst>
        </pc:spChg>
        <pc:grpChg chg="replST">
          <ac:chgData name="Dion3, Alain (SPAC/PSPC) (il-lui / he-him)" userId="b5972ad0-fee1-4393-9fd4-8bc589782ac7" providerId="ADAL" clId="{69C01E3A-CCA7-4109-9D87-E7DE28CE6ABA}" dt="2024-10-30T17:25:31.732" v="254"/>
          <ac:grpSpMkLst>
            <pc:docMk/>
            <pc:sldMk cId="2648589367" sldId="5023"/>
            <ac:grpSpMk id="2" creationId="{661B2616-8850-EF91-157D-D23F4AB9BD14}"/>
          </ac:grpSpMkLst>
        </pc:grpChg>
      </pc:sldChg>
      <pc:sldChg chg="modSp mod">
        <pc:chgData name="Dion3, Alain (SPAC/PSPC) (il-lui / he-him)" userId="b5972ad0-fee1-4393-9fd4-8bc589782ac7" providerId="ADAL" clId="{69C01E3A-CCA7-4109-9D87-E7DE28CE6ABA}" dt="2024-10-31T13:04:28.623" v="558" actId="20577"/>
        <pc:sldMkLst>
          <pc:docMk/>
          <pc:sldMk cId="3981118542" sldId="5024"/>
        </pc:sldMkLst>
        <pc:spChg chg="mod replST">
          <ac:chgData name="Dion3, Alain (SPAC/PSPC) (il-lui / he-him)" userId="b5972ad0-fee1-4393-9fd4-8bc589782ac7" providerId="ADAL" clId="{69C01E3A-CCA7-4109-9D87-E7DE28CE6ABA}" dt="2024-10-31T13:04:28.623" v="558" actId="20577"/>
          <ac:spMkLst>
            <pc:docMk/>
            <pc:sldMk cId="3981118542" sldId="5024"/>
            <ac:spMk id="4" creationId="{5CFF1F66-C9F8-5499-40CC-51C8B8764C38}"/>
          </ac:spMkLst>
        </pc:spChg>
        <pc:spChg chg="mod replST">
          <ac:chgData name="Dion3, Alain (SPAC/PSPC) (il-lui / he-him)" userId="b5972ad0-fee1-4393-9fd4-8bc589782ac7" providerId="ADAL" clId="{69C01E3A-CCA7-4109-9D87-E7DE28CE6ABA}" dt="2024-10-31T13:04:11.224" v="538" actId="20577"/>
          <ac:spMkLst>
            <pc:docMk/>
            <pc:sldMk cId="3981118542" sldId="5024"/>
            <ac:spMk id="44" creationId="{C7821F24-6F80-CA3D-510D-5C9620480FB6}"/>
          </ac:spMkLst>
        </pc:spChg>
      </pc:sldChg>
      <pc:sldChg chg="modSp mod modNotesTx">
        <pc:chgData name="Dion3, Alain (SPAC/PSPC) (il-lui / he-him)" userId="b5972ad0-fee1-4393-9fd4-8bc589782ac7" providerId="ADAL" clId="{69C01E3A-CCA7-4109-9D87-E7DE28CE6ABA}" dt="2024-10-31T13:17:22.356" v="866" actId="20577"/>
        <pc:sldMkLst>
          <pc:docMk/>
          <pc:sldMk cId="4259597417" sldId="5025"/>
        </pc:sldMkLst>
        <pc:spChg chg="mod replST">
          <ac:chgData name="Dion3, Alain (SPAC/PSPC) (il-lui / he-him)" userId="b5972ad0-fee1-4393-9fd4-8bc589782ac7" providerId="ADAL" clId="{69C01E3A-CCA7-4109-9D87-E7DE28CE6ABA}" dt="2024-10-31T13:17:22.356" v="866" actId="20577"/>
          <ac:spMkLst>
            <pc:docMk/>
            <pc:sldMk cId="4259597417" sldId="5025"/>
            <ac:spMk id="2" creationId="{530A314D-74C9-43F8-A8C5-E61B4C92159E}"/>
          </ac:spMkLst>
        </pc:spChg>
        <pc:spChg chg="mod replST">
          <ac:chgData name="Dion3, Alain (SPAC/PSPC) (il-lui / he-him)" userId="b5972ad0-fee1-4393-9fd4-8bc589782ac7" providerId="ADAL" clId="{69C01E3A-CCA7-4109-9D87-E7DE28CE6ABA}" dt="2024-10-31T13:16:47.737" v="865" actId="20577"/>
          <ac:spMkLst>
            <pc:docMk/>
            <pc:sldMk cId="4259597417" sldId="5025"/>
            <ac:spMk id="3" creationId="{01878D68-837E-5268-997E-7F6A241FE287}"/>
          </ac:spMkLst>
        </pc:spChg>
        <pc:spChg chg="mod replST">
          <ac:chgData name="Dion3, Alain (SPAC/PSPC) (il-lui / he-him)" userId="b5972ad0-fee1-4393-9fd4-8bc589782ac7" providerId="ADAL" clId="{69C01E3A-CCA7-4109-9D87-E7DE28CE6ABA}" dt="2024-10-31T13:07:09.215" v="602" actId="790"/>
          <ac:spMkLst>
            <pc:docMk/>
            <pc:sldMk cId="4259597417" sldId="5025"/>
            <ac:spMk id="4" creationId="{25BA348F-C9F0-AA22-1FE6-5AC453656143}"/>
          </ac:spMkLst>
        </pc:spChg>
        <pc:spChg chg="mod replST">
          <ac:chgData name="Dion3, Alain (SPAC/PSPC) (il-lui / he-him)" userId="b5972ad0-fee1-4393-9fd4-8bc589782ac7" providerId="ADAL" clId="{69C01E3A-CCA7-4109-9D87-E7DE28CE6ABA}" dt="2024-10-31T13:07:09.215" v="602" actId="790"/>
          <ac:spMkLst>
            <pc:docMk/>
            <pc:sldMk cId="4259597417" sldId="5025"/>
            <ac:spMk id="5" creationId="{CB95E960-CE78-98CE-73A3-30C6CE832DA5}"/>
          </ac:spMkLst>
        </pc:spChg>
        <pc:spChg chg="mod replST">
          <ac:chgData name="Dion3, Alain (SPAC/PSPC) (il-lui / he-him)" userId="b5972ad0-fee1-4393-9fd4-8bc589782ac7" providerId="ADAL" clId="{69C01E3A-CCA7-4109-9D87-E7DE28CE6ABA}" dt="2024-10-31T13:07:09.215" v="602" actId="790"/>
          <ac:spMkLst>
            <pc:docMk/>
            <pc:sldMk cId="4259597417" sldId="5025"/>
            <ac:spMk id="8" creationId="{500614F0-6698-45A0-B762-A6B5D891CC12}"/>
          </ac:spMkLst>
        </pc:spChg>
        <pc:spChg chg="mod">
          <ac:chgData name="Dion3, Alain (SPAC/PSPC) (il-lui / he-him)" userId="b5972ad0-fee1-4393-9fd4-8bc589782ac7" providerId="ADAL" clId="{69C01E3A-CCA7-4109-9D87-E7DE28CE6ABA}" dt="2024-10-31T13:09:18.302" v="646" actId="20577"/>
          <ac:spMkLst>
            <pc:docMk/>
            <pc:sldMk cId="4259597417" sldId="5025"/>
            <ac:spMk id="9" creationId="{913C1812-715A-46AA-93A3-DFBB8BFBFB77}"/>
          </ac:spMkLst>
        </pc:spChg>
        <pc:spChg chg="mod">
          <ac:chgData name="Dion3, Alain (SPAC/PSPC) (il-lui / he-him)" userId="b5972ad0-fee1-4393-9fd4-8bc589782ac7" providerId="ADAL" clId="{69C01E3A-CCA7-4109-9D87-E7DE28CE6ABA}" dt="2024-10-31T13:07:09.215" v="602" actId="790"/>
          <ac:spMkLst>
            <pc:docMk/>
            <pc:sldMk cId="4259597417" sldId="5025"/>
            <ac:spMk id="13" creationId="{567B0D0C-3B07-4F68-8971-DF0F5502BC44}"/>
          </ac:spMkLst>
        </pc:spChg>
        <pc:spChg chg="mod">
          <ac:chgData name="Dion3, Alain (SPAC/PSPC) (il-lui / he-him)" userId="b5972ad0-fee1-4393-9fd4-8bc589782ac7" providerId="ADAL" clId="{69C01E3A-CCA7-4109-9D87-E7DE28CE6ABA}" dt="2024-10-31T13:07:09.215" v="602" actId="790"/>
          <ac:spMkLst>
            <pc:docMk/>
            <pc:sldMk cId="4259597417" sldId="5025"/>
            <ac:spMk id="17" creationId="{53E7AE0D-9FBF-45ED-BBC3-61684C08E034}"/>
          </ac:spMkLst>
        </pc:spChg>
        <pc:spChg chg="mod">
          <ac:chgData name="Dion3, Alain (SPAC/PSPC) (il-lui / he-him)" userId="b5972ad0-fee1-4393-9fd4-8bc589782ac7" providerId="ADAL" clId="{69C01E3A-CCA7-4109-9D87-E7DE28CE6ABA}" dt="2024-10-31T13:07:09.215" v="602" actId="790"/>
          <ac:spMkLst>
            <pc:docMk/>
            <pc:sldMk cId="4259597417" sldId="5025"/>
            <ac:spMk id="20" creationId="{9031742B-BEBA-4AE8-A8AF-F56808DB1541}"/>
          </ac:spMkLst>
        </pc:spChg>
        <pc:spChg chg="mod">
          <ac:chgData name="Dion3, Alain (SPAC/PSPC) (il-lui / he-him)" userId="b5972ad0-fee1-4393-9fd4-8bc589782ac7" providerId="ADAL" clId="{69C01E3A-CCA7-4109-9D87-E7DE28CE6ABA}" dt="2024-10-31T13:07:09.215" v="602" actId="790"/>
          <ac:spMkLst>
            <pc:docMk/>
            <pc:sldMk cId="4259597417" sldId="5025"/>
            <ac:spMk id="21" creationId="{AEA1D146-B1D0-4DA9-9ACE-52128B2D796E}"/>
          </ac:spMkLst>
        </pc:spChg>
        <pc:spChg chg="mod">
          <ac:chgData name="Dion3, Alain (SPAC/PSPC) (il-lui / he-him)" userId="b5972ad0-fee1-4393-9fd4-8bc589782ac7" providerId="ADAL" clId="{69C01E3A-CCA7-4109-9D87-E7DE28CE6ABA}" dt="2024-10-31T13:07:09.215" v="602" actId="790"/>
          <ac:spMkLst>
            <pc:docMk/>
            <pc:sldMk cId="4259597417" sldId="5025"/>
            <ac:spMk id="22" creationId="{985303B0-4D73-477A-A149-15587C809E1B}"/>
          </ac:spMkLst>
        </pc:spChg>
        <pc:spChg chg="mod">
          <ac:chgData name="Dion3, Alain (SPAC/PSPC) (il-lui / he-him)" userId="b5972ad0-fee1-4393-9fd4-8bc589782ac7" providerId="ADAL" clId="{69C01E3A-CCA7-4109-9D87-E7DE28CE6ABA}" dt="2024-10-31T13:09:59.063" v="657" actId="20577"/>
          <ac:spMkLst>
            <pc:docMk/>
            <pc:sldMk cId="4259597417" sldId="5025"/>
            <ac:spMk id="24" creationId="{D7ABFA5A-2948-41EC-AF91-AB2ACFB1383E}"/>
          </ac:spMkLst>
        </pc:spChg>
        <pc:spChg chg="mod">
          <ac:chgData name="Dion3, Alain (SPAC/PSPC) (il-lui / he-him)" userId="b5972ad0-fee1-4393-9fd4-8bc589782ac7" providerId="ADAL" clId="{69C01E3A-CCA7-4109-9D87-E7DE28CE6ABA}" dt="2024-10-31T13:07:09.215" v="602" actId="790"/>
          <ac:spMkLst>
            <pc:docMk/>
            <pc:sldMk cId="4259597417" sldId="5025"/>
            <ac:spMk id="25" creationId="{D18FB770-9587-4D7D-A6C4-0226F7653F76}"/>
          </ac:spMkLst>
        </pc:spChg>
        <pc:spChg chg="mod">
          <ac:chgData name="Dion3, Alain (SPAC/PSPC) (il-lui / he-him)" userId="b5972ad0-fee1-4393-9fd4-8bc589782ac7" providerId="ADAL" clId="{69C01E3A-CCA7-4109-9D87-E7DE28CE6ABA}" dt="2024-10-31T13:07:09.215" v="602" actId="790"/>
          <ac:spMkLst>
            <pc:docMk/>
            <pc:sldMk cId="4259597417" sldId="5025"/>
            <ac:spMk id="26" creationId="{D3D30C84-6D5A-4DA1-991B-74F42027021B}"/>
          </ac:spMkLst>
        </pc:spChg>
        <pc:grpChg chg="replST">
          <ac:chgData name="Dion3, Alain (SPAC/PSPC) (il-lui / he-him)" userId="b5972ad0-fee1-4393-9fd4-8bc589782ac7" providerId="ADAL" clId="{69C01E3A-CCA7-4109-9D87-E7DE28CE6ABA}" dt="2024-10-30T17:25:31.788" v="260"/>
          <ac:grpSpMkLst>
            <pc:docMk/>
            <pc:sldMk cId="4259597417" sldId="5025"/>
            <ac:grpSpMk id="41" creationId="{0771C080-8346-4646-AF35-12941E0F9E4B}"/>
          </ac:grpSpMkLst>
        </pc:grpChg>
        <pc:picChg chg="replST">
          <ac:chgData name="Dion3, Alain (SPAC/PSPC) (il-lui / he-him)" userId="b5972ad0-fee1-4393-9fd4-8bc589782ac7" providerId="ADAL" clId="{69C01E3A-CCA7-4109-9D87-E7DE28CE6ABA}" dt="2024-10-30T17:25:31.814" v="264"/>
          <ac:picMkLst>
            <pc:docMk/>
            <pc:sldMk cId="4259597417" sldId="5025"/>
            <ac:picMk id="6" creationId="{E262B0F6-EACC-56E9-5DE1-0437D10F924D}"/>
          </ac:picMkLst>
        </pc:picChg>
      </pc:sldChg>
      <pc:sldChg chg="modSp mod">
        <pc:chgData name="Dion3, Alain (SPAC/PSPC) (il-lui / he-him)" userId="b5972ad0-fee1-4393-9fd4-8bc589782ac7" providerId="ADAL" clId="{69C01E3A-CCA7-4109-9D87-E7DE28CE6ABA}" dt="2024-10-31T13:06:41.767" v="576" actId="20577"/>
        <pc:sldMkLst>
          <pc:docMk/>
          <pc:sldMk cId="719294471" sldId="5026"/>
        </pc:sldMkLst>
        <pc:spChg chg="mod replST">
          <ac:chgData name="Dion3, Alain (SPAC/PSPC) (il-lui / he-him)" userId="b5972ad0-fee1-4393-9fd4-8bc589782ac7" providerId="ADAL" clId="{69C01E3A-CCA7-4109-9D87-E7DE28CE6ABA}" dt="2024-10-31T13:06:41.767" v="576" actId="20577"/>
          <ac:spMkLst>
            <pc:docMk/>
            <pc:sldMk cId="719294471" sldId="5026"/>
            <ac:spMk id="4" creationId="{B91A1F92-F0AB-4EFA-40EE-A33352BD8C2E}"/>
          </ac:spMkLst>
        </pc:spChg>
      </pc:sldChg>
      <pc:sldChg chg="add">
        <pc:chgData name="Dion3, Alain (SPAC/PSPC) (il-lui / he-him)" userId="b5972ad0-fee1-4393-9fd4-8bc589782ac7" providerId="ADAL" clId="{69C01E3A-CCA7-4109-9D87-E7DE28CE6ABA}" dt="2024-10-30T17:42:47.370" v="492"/>
        <pc:sldMkLst>
          <pc:docMk/>
          <pc:sldMk cId="2281786715" sldId="5027"/>
        </pc:sldMkLst>
      </pc:sldChg>
      <pc:sldChg chg="add del">
        <pc:chgData name="Dion3, Alain (SPAC/PSPC) (il-lui / he-him)" userId="b5972ad0-fee1-4393-9fd4-8bc589782ac7" providerId="ADAL" clId="{69C01E3A-CCA7-4109-9D87-E7DE28CE6ABA}" dt="2024-10-30T17:50:47.562" v="498"/>
        <pc:sldMkLst>
          <pc:docMk/>
          <pc:sldMk cId="3098362126" sldId="5028"/>
        </pc:sldMkLst>
      </pc:sldChg>
      <pc:sldChg chg="modSp add mod">
        <pc:chgData name="Dion3, Alain (SPAC/PSPC) (il-lui / he-him)" userId="b5972ad0-fee1-4393-9fd4-8bc589782ac7" providerId="ADAL" clId="{69C01E3A-CCA7-4109-9D87-E7DE28CE6ABA}" dt="2024-10-31T13:38:14.572" v="1090" actId="14100"/>
        <pc:sldMkLst>
          <pc:docMk/>
          <pc:sldMk cId="4240405007" sldId="5028"/>
        </pc:sldMkLst>
        <pc:spChg chg="mod">
          <ac:chgData name="Dion3, Alain (SPAC/PSPC) (il-lui / he-him)" userId="b5972ad0-fee1-4393-9fd4-8bc589782ac7" providerId="ADAL" clId="{69C01E3A-CCA7-4109-9D87-E7DE28CE6ABA}" dt="2024-10-30T17:51:20.859" v="504" actId="1076"/>
          <ac:spMkLst>
            <pc:docMk/>
            <pc:sldMk cId="4240405007" sldId="5028"/>
            <ac:spMk id="17" creationId="{BE2C8F62-70A2-F29B-59A9-A79C3CD3C98F}"/>
          </ac:spMkLst>
        </pc:spChg>
        <pc:spChg chg="mod">
          <ac:chgData name="Dion3, Alain (SPAC/PSPC) (il-lui / he-him)" userId="b5972ad0-fee1-4393-9fd4-8bc589782ac7" providerId="ADAL" clId="{69C01E3A-CCA7-4109-9D87-E7DE28CE6ABA}" dt="2024-10-30T17:51:35.336" v="506" actId="1076"/>
          <ac:spMkLst>
            <pc:docMk/>
            <pc:sldMk cId="4240405007" sldId="5028"/>
            <ac:spMk id="32" creationId="{CA864140-7987-A572-621D-80A839AD187F}"/>
          </ac:spMkLst>
        </pc:spChg>
        <pc:spChg chg="mod">
          <ac:chgData name="Dion3, Alain (SPAC/PSPC) (il-lui / he-him)" userId="b5972ad0-fee1-4393-9fd4-8bc589782ac7" providerId="ADAL" clId="{69C01E3A-CCA7-4109-9D87-E7DE28CE6ABA}" dt="2024-10-30T17:51:03.345" v="500" actId="14100"/>
          <ac:spMkLst>
            <pc:docMk/>
            <pc:sldMk cId="4240405007" sldId="5028"/>
            <ac:spMk id="48" creationId="{6B16CA0D-CB1F-D6ED-89BE-F6616AE840BF}"/>
          </ac:spMkLst>
        </pc:spChg>
        <pc:spChg chg="mod">
          <ac:chgData name="Dion3, Alain (SPAC/PSPC) (il-lui / he-him)" userId="b5972ad0-fee1-4393-9fd4-8bc589782ac7" providerId="ADAL" clId="{69C01E3A-CCA7-4109-9D87-E7DE28CE6ABA}" dt="2024-10-31T13:38:14.572" v="1090" actId="14100"/>
          <ac:spMkLst>
            <pc:docMk/>
            <pc:sldMk cId="4240405007" sldId="5028"/>
            <ac:spMk id="57" creationId="{80C64189-743E-1D6F-BC38-898A98A32465}"/>
          </ac:spMkLst>
        </pc:spChg>
        <pc:cxnChg chg="mod">
          <ac:chgData name="Dion3, Alain (SPAC/PSPC) (il-lui / he-him)" userId="b5972ad0-fee1-4393-9fd4-8bc589782ac7" providerId="ADAL" clId="{69C01E3A-CCA7-4109-9D87-E7DE28CE6ABA}" dt="2024-10-30T17:51:17.834" v="503" actId="14100"/>
          <ac:cxnSpMkLst>
            <pc:docMk/>
            <pc:sldMk cId="4240405007" sldId="5028"/>
            <ac:cxnSpMk id="15" creationId="{7983B277-C430-B365-49FF-CBA08A0541FA}"/>
          </ac:cxnSpMkLst>
        </pc:cxnChg>
        <pc:cxnChg chg="mod">
          <ac:chgData name="Dion3, Alain (SPAC/PSPC) (il-lui / he-him)" userId="b5972ad0-fee1-4393-9fd4-8bc589782ac7" providerId="ADAL" clId="{69C01E3A-CCA7-4109-9D87-E7DE28CE6ABA}" dt="2024-10-30T17:51:30.728" v="505" actId="14100"/>
          <ac:cxnSpMkLst>
            <pc:docMk/>
            <pc:sldMk cId="4240405007" sldId="5028"/>
            <ac:cxnSpMk id="30" creationId="{1915A0C8-9419-C7AD-D3E1-83CFAEC77A44}"/>
          </ac:cxnSpMkLst>
        </pc:cxnChg>
      </pc:sldChg>
      <pc:sldChg chg="add del">
        <pc:chgData name="Dion3, Alain (SPAC/PSPC) (il-lui / he-him)" userId="b5972ad0-fee1-4393-9fd4-8bc589782ac7" providerId="ADAL" clId="{69C01E3A-CCA7-4109-9D87-E7DE28CE6ABA}" dt="2024-10-31T13:02:17.371" v="528" actId="47"/>
        <pc:sldMkLst>
          <pc:docMk/>
          <pc:sldMk cId="777035780" sldId="5029"/>
        </pc:sldMkLst>
      </pc:sldChg>
      <pc:sldMasterChg chg="modSp mod">
        <pc:chgData name="Dion3, Alain (SPAC/PSPC) (il-lui / he-him)" userId="b5972ad0-fee1-4393-9fd4-8bc589782ac7" providerId="ADAL" clId="{69C01E3A-CCA7-4109-9D87-E7DE28CE6ABA}" dt="2024-10-30T17:17:41.139" v="31" actId="14826"/>
        <pc:sldMasterMkLst>
          <pc:docMk/>
          <pc:sldMasterMk cId="792885655" sldId="2147483675"/>
        </pc:sldMasterMkLst>
        <pc:picChg chg="mod">
          <ac:chgData name="Dion3, Alain (SPAC/PSPC) (il-lui / he-him)" userId="b5972ad0-fee1-4393-9fd4-8bc589782ac7" providerId="ADAL" clId="{69C01E3A-CCA7-4109-9D87-E7DE28CE6ABA}" dt="2024-10-30T17:17:41.139" v="31" actId="14826"/>
          <ac:picMkLst>
            <pc:docMk/>
            <pc:sldMasterMk cId="792885655" sldId="2147483675"/>
            <ac:picMk id="8" creationId="{89CA9733-78EF-5F49-81C1-064DE89D5260}"/>
          </ac:picMkLst>
        </pc:picChg>
      </pc:sldMasterChg>
    </pc:docChg>
  </pc:docChgLst>
  <pc:docChgLst>
    <pc:chgData name="Elgee, Jeffrey (SPAC/PSPC)" userId="e10f0e9c-c03f-4fde-9113-11216b420c44" providerId="ADAL" clId="{0BEA5CCD-CDB7-477E-8756-157B9A0B9D9F}"/>
    <pc:docChg chg="undo redo custSel addSld delSld modSld sldOrd modMainMaster delSection modSection">
      <pc:chgData name="Elgee, Jeffrey (SPAC/PSPC)" userId="e10f0e9c-c03f-4fde-9113-11216b420c44" providerId="ADAL" clId="{0BEA5CCD-CDB7-477E-8756-157B9A0B9D9F}" dt="2024-08-15T14:30:11.852" v="5608" actId="20577"/>
      <pc:docMkLst>
        <pc:docMk/>
      </pc:docMkLst>
      <pc:sldChg chg="addSp modSp add mod ord">
        <pc:chgData name="Elgee, Jeffrey (SPAC/PSPC)" userId="e10f0e9c-c03f-4fde-9113-11216b420c44" providerId="ADAL" clId="{0BEA5CCD-CDB7-477E-8756-157B9A0B9D9F}" dt="2024-08-14T17:04:07.108" v="4750"/>
        <pc:sldMkLst>
          <pc:docMk/>
          <pc:sldMk cId="1875387166" sldId="261"/>
        </pc:sldMkLst>
        <pc:spChg chg="add mod">
          <ac:chgData name="Elgee, Jeffrey (SPAC/PSPC)" userId="e10f0e9c-c03f-4fde-9113-11216b420c44" providerId="ADAL" clId="{0BEA5CCD-CDB7-477E-8756-157B9A0B9D9F}" dt="2024-07-30T15:28:03.325" v="2855" actId="1076"/>
          <ac:spMkLst>
            <pc:docMk/>
            <pc:sldMk cId="1875387166" sldId="261"/>
            <ac:spMk id="2" creationId="{521DAF64-A1D9-2214-AA53-D662C0123748}"/>
          </ac:spMkLst>
        </pc:spChg>
        <pc:spChg chg="mod">
          <ac:chgData name="Elgee, Jeffrey (SPAC/PSPC)" userId="e10f0e9c-c03f-4fde-9113-11216b420c44" providerId="ADAL" clId="{0BEA5CCD-CDB7-477E-8756-157B9A0B9D9F}" dt="2024-07-31T18:09:50.388" v="4708" actId="20577"/>
          <ac:spMkLst>
            <pc:docMk/>
            <pc:sldMk cId="1875387166" sldId="261"/>
            <ac:spMk id="7" creationId="{0E5312BC-D894-4EF1-B411-739DA565E3FB}"/>
          </ac:spMkLst>
        </pc:spChg>
        <pc:spChg chg="mod">
          <ac:chgData name="Elgee, Jeffrey (SPAC/PSPC)" userId="e10f0e9c-c03f-4fde-9113-11216b420c44" providerId="ADAL" clId="{0BEA5CCD-CDB7-477E-8756-157B9A0B9D9F}" dt="2024-07-30T15:15:30.207" v="2590" actId="207"/>
          <ac:spMkLst>
            <pc:docMk/>
            <pc:sldMk cId="1875387166" sldId="261"/>
            <ac:spMk id="54" creationId="{5490FC9F-889D-A044-9A24-51CB6BB0725C}"/>
          </ac:spMkLst>
        </pc:spChg>
        <pc:spChg chg="mod">
          <ac:chgData name="Elgee, Jeffrey (SPAC/PSPC)" userId="e10f0e9c-c03f-4fde-9113-11216b420c44" providerId="ADAL" clId="{0BEA5CCD-CDB7-477E-8756-157B9A0B9D9F}" dt="2024-07-30T15:09:35.843" v="2582" actId="1076"/>
          <ac:spMkLst>
            <pc:docMk/>
            <pc:sldMk cId="1875387166" sldId="261"/>
            <ac:spMk id="55" creationId="{C65A198B-1883-1A4B-A8B4-DD725DC9EB17}"/>
          </ac:spMkLst>
        </pc:spChg>
        <pc:spChg chg="mod">
          <ac:chgData name="Elgee, Jeffrey (SPAC/PSPC)" userId="e10f0e9c-c03f-4fde-9113-11216b420c44" providerId="ADAL" clId="{0BEA5CCD-CDB7-477E-8756-157B9A0B9D9F}" dt="2024-07-30T15:15:32.271" v="2594" actId="207"/>
          <ac:spMkLst>
            <pc:docMk/>
            <pc:sldMk cId="1875387166" sldId="261"/>
            <ac:spMk id="56" creationId="{432E7640-9E73-0D40-A6F4-AC27C1BD258B}"/>
          </ac:spMkLst>
        </pc:spChg>
        <pc:picChg chg="add mod">
          <ac:chgData name="Elgee, Jeffrey (SPAC/PSPC)" userId="e10f0e9c-c03f-4fde-9113-11216b420c44" providerId="ADAL" clId="{0BEA5CCD-CDB7-477E-8756-157B9A0B9D9F}" dt="2024-07-30T15:28:03.325" v="2855" actId="1076"/>
          <ac:picMkLst>
            <pc:docMk/>
            <pc:sldMk cId="1875387166" sldId="261"/>
            <ac:picMk id="3" creationId="{734A7774-2621-153F-95FA-7B3031EABDEC}"/>
          </ac:picMkLst>
        </pc:picChg>
      </pc:sldChg>
      <pc:sldChg chg="delSp modSp mod">
        <pc:chgData name="Elgee, Jeffrey (SPAC/PSPC)" userId="e10f0e9c-c03f-4fde-9113-11216b420c44" providerId="ADAL" clId="{0BEA5CCD-CDB7-477E-8756-157B9A0B9D9F}" dt="2024-07-31T15:05:36.012" v="3363" actId="20577"/>
        <pc:sldMkLst>
          <pc:docMk/>
          <pc:sldMk cId="1739606208" sldId="384"/>
        </pc:sldMkLst>
        <pc:spChg chg="mod">
          <ac:chgData name="Elgee, Jeffrey (SPAC/PSPC)" userId="e10f0e9c-c03f-4fde-9113-11216b420c44" providerId="ADAL" clId="{0BEA5CCD-CDB7-477E-8756-157B9A0B9D9F}" dt="2024-07-31T15:05:36.012" v="3363" actId="20577"/>
          <ac:spMkLst>
            <pc:docMk/>
            <pc:sldMk cId="1739606208" sldId="384"/>
            <ac:spMk id="2" creationId="{00000000-0000-0000-0000-000000000000}"/>
          </ac:spMkLst>
        </pc:spChg>
        <pc:picChg chg="del">
          <ac:chgData name="Elgee, Jeffrey (SPAC/PSPC)" userId="e10f0e9c-c03f-4fde-9113-11216b420c44" providerId="ADAL" clId="{0BEA5CCD-CDB7-477E-8756-157B9A0B9D9F}" dt="2024-07-30T13:19:43.981" v="1960" actId="478"/>
          <ac:picMkLst>
            <pc:docMk/>
            <pc:sldMk cId="1739606208" sldId="384"/>
            <ac:picMk id="15" creationId="{34851D0C-FB2D-405F-8356-3B01DC301E96}"/>
          </ac:picMkLst>
        </pc:picChg>
      </pc:sldChg>
      <pc:sldChg chg="addSp delSp modSp mod">
        <pc:chgData name="Elgee, Jeffrey (SPAC/PSPC)" userId="e10f0e9c-c03f-4fde-9113-11216b420c44" providerId="ADAL" clId="{0BEA5CCD-CDB7-477E-8756-157B9A0B9D9F}" dt="2024-07-31T15:16:07.886" v="4037" actId="20577"/>
        <pc:sldMkLst>
          <pc:docMk/>
          <pc:sldMk cId="782836501" sldId="385"/>
        </pc:sldMkLst>
        <pc:spChg chg="mod">
          <ac:chgData name="Elgee, Jeffrey (SPAC/PSPC)" userId="e10f0e9c-c03f-4fde-9113-11216b420c44" providerId="ADAL" clId="{0BEA5CCD-CDB7-477E-8756-157B9A0B9D9F}" dt="2024-07-31T15:07:51.491" v="3403" actId="20577"/>
          <ac:spMkLst>
            <pc:docMk/>
            <pc:sldMk cId="782836501" sldId="385"/>
            <ac:spMk id="2" creationId="{7848FF00-1347-4DA1-9437-1B4A0F154B78}"/>
          </ac:spMkLst>
        </pc:spChg>
        <pc:spChg chg="del mod">
          <ac:chgData name="Elgee, Jeffrey (SPAC/PSPC)" userId="e10f0e9c-c03f-4fde-9113-11216b420c44" providerId="ADAL" clId="{0BEA5CCD-CDB7-477E-8756-157B9A0B9D9F}" dt="2024-07-31T15:07:53.221" v="3405"/>
          <ac:spMkLst>
            <pc:docMk/>
            <pc:sldMk cId="782836501" sldId="385"/>
            <ac:spMk id="3" creationId="{23853901-6C24-42E4-9B2A-CB2C1F1F822C}"/>
          </ac:spMkLst>
        </pc:spChg>
        <pc:spChg chg="add mod">
          <ac:chgData name="Elgee, Jeffrey (SPAC/PSPC)" userId="e10f0e9c-c03f-4fde-9113-11216b420c44" providerId="ADAL" clId="{0BEA5CCD-CDB7-477E-8756-157B9A0B9D9F}" dt="2024-07-31T15:16:07.886" v="4037" actId="20577"/>
          <ac:spMkLst>
            <pc:docMk/>
            <pc:sldMk cId="782836501" sldId="385"/>
            <ac:spMk id="4" creationId="{1BF6AE7D-EA5B-2770-5162-CBDE59225782}"/>
          </ac:spMkLst>
        </pc:spChg>
      </pc:sldChg>
      <pc:sldChg chg="delSp modSp mod">
        <pc:chgData name="Elgee, Jeffrey (SPAC/PSPC)" userId="e10f0e9c-c03f-4fde-9113-11216b420c44" providerId="ADAL" clId="{0BEA5CCD-CDB7-477E-8756-157B9A0B9D9F}" dt="2024-07-30T13:36:26.301" v="1965" actId="1076"/>
        <pc:sldMkLst>
          <pc:docMk/>
          <pc:sldMk cId="1684323998" sldId="386"/>
        </pc:sldMkLst>
        <pc:spChg chg="mod">
          <ac:chgData name="Elgee, Jeffrey (SPAC/PSPC)" userId="e10f0e9c-c03f-4fde-9113-11216b420c44" providerId="ADAL" clId="{0BEA5CCD-CDB7-477E-8756-157B9A0B9D9F}" dt="2024-07-30T13:30:27.376" v="1961"/>
          <ac:spMkLst>
            <pc:docMk/>
            <pc:sldMk cId="1684323998" sldId="386"/>
            <ac:spMk id="2" creationId="{530A314D-74C9-43F8-A8C5-E61B4C92159E}"/>
          </ac:spMkLst>
        </pc:spChg>
        <pc:spChg chg="mod">
          <ac:chgData name="Elgee, Jeffrey (SPAC/PSPC)" userId="e10f0e9c-c03f-4fde-9113-11216b420c44" providerId="ADAL" clId="{0BEA5CCD-CDB7-477E-8756-157B9A0B9D9F}" dt="2024-07-30T13:17:48.288" v="1847" actId="1037"/>
          <ac:spMkLst>
            <pc:docMk/>
            <pc:sldMk cId="1684323998" sldId="386"/>
            <ac:spMk id="9" creationId="{913C1812-715A-46AA-93A3-DFBB8BFBFB77}"/>
          </ac:spMkLst>
        </pc:spChg>
        <pc:spChg chg="mod">
          <ac:chgData name="Elgee, Jeffrey (SPAC/PSPC)" userId="e10f0e9c-c03f-4fde-9113-11216b420c44" providerId="ADAL" clId="{0BEA5CCD-CDB7-477E-8756-157B9A0B9D9F}" dt="2024-07-30T13:17:48.288" v="1847" actId="1037"/>
          <ac:spMkLst>
            <pc:docMk/>
            <pc:sldMk cId="1684323998" sldId="386"/>
            <ac:spMk id="13" creationId="{567B0D0C-3B07-4F68-8971-DF0F5502BC44}"/>
          </ac:spMkLst>
        </pc:spChg>
        <pc:spChg chg="mod">
          <ac:chgData name="Elgee, Jeffrey (SPAC/PSPC)" userId="e10f0e9c-c03f-4fde-9113-11216b420c44" providerId="ADAL" clId="{0BEA5CCD-CDB7-477E-8756-157B9A0B9D9F}" dt="2024-07-30T13:17:57.932" v="1862" actId="1037"/>
          <ac:spMkLst>
            <pc:docMk/>
            <pc:sldMk cId="1684323998" sldId="386"/>
            <ac:spMk id="17" creationId="{53E7AE0D-9FBF-45ED-BBC3-61684C08E034}"/>
          </ac:spMkLst>
        </pc:spChg>
        <pc:spChg chg="mod">
          <ac:chgData name="Elgee, Jeffrey (SPAC/PSPC)" userId="e10f0e9c-c03f-4fde-9113-11216b420c44" providerId="ADAL" clId="{0BEA5CCD-CDB7-477E-8756-157B9A0B9D9F}" dt="2024-07-29T19:28:09.954" v="1331" actId="1038"/>
          <ac:spMkLst>
            <pc:docMk/>
            <pc:sldMk cId="1684323998" sldId="386"/>
            <ac:spMk id="20" creationId="{9031742B-BEBA-4AE8-A8AF-F56808DB1541}"/>
          </ac:spMkLst>
        </pc:spChg>
        <pc:spChg chg="mod">
          <ac:chgData name="Elgee, Jeffrey (SPAC/PSPC)" userId="e10f0e9c-c03f-4fde-9113-11216b420c44" providerId="ADAL" clId="{0BEA5CCD-CDB7-477E-8756-157B9A0B9D9F}" dt="2024-07-29T19:28:16.216" v="1382" actId="1037"/>
          <ac:spMkLst>
            <pc:docMk/>
            <pc:sldMk cId="1684323998" sldId="386"/>
            <ac:spMk id="21" creationId="{AEA1D146-B1D0-4DA9-9ACE-52128B2D796E}"/>
          </ac:spMkLst>
        </pc:spChg>
        <pc:spChg chg="mod">
          <ac:chgData name="Elgee, Jeffrey (SPAC/PSPC)" userId="e10f0e9c-c03f-4fde-9113-11216b420c44" providerId="ADAL" clId="{0BEA5CCD-CDB7-477E-8756-157B9A0B9D9F}" dt="2024-07-30T13:36:26.301" v="1965" actId="1076"/>
          <ac:spMkLst>
            <pc:docMk/>
            <pc:sldMk cId="1684323998" sldId="386"/>
            <ac:spMk id="22" creationId="{985303B0-4D73-477A-A149-15587C809E1B}"/>
          </ac:spMkLst>
        </pc:spChg>
        <pc:spChg chg="mod">
          <ac:chgData name="Elgee, Jeffrey (SPAC/PSPC)" userId="e10f0e9c-c03f-4fde-9113-11216b420c44" providerId="ADAL" clId="{0BEA5CCD-CDB7-477E-8756-157B9A0B9D9F}" dt="2024-07-29T17:21:43.915" v="589" actId="20577"/>
          <ac:spMkLst>
            <pc:docMk/>
            <pc:sldMk cId="1684323998" sldId="386"/>
            <ac:spMk id="24" creationId="{D7ABFA5A-2948-41EC-AF91-AB2ACFB1383E}"/>
          </ac:spMkLst>
        </pc:spChg>
        <pc:spChg chg="del">
          <ac:chgData name="Elgee, Jeffrey (SPAC/PSPC)" userId="e10f0e9c-c03f-4fde-9113-11216b420c44" providerId="ADAL" clId="{0BEA5CCD-CDB7-477E-8756-157B9A0B9D9F}" dt="2024-07-29T17:21:58.497" v="591" actId="478"/>
          <ac:spMkLst>
            <pc:docMk/>
            <pc:sldMk cId="1684323998" sldId="386"/>
            <ac:spMk id="28" creationId="{F3177F66-B4E9-47D8-BB8A-F6AE4A801C95}"/>
          </ac:spMkLst>
        </pc:spChg>
        <pc:spChg chg="del">
          <ac:chgData name="Elgee, Jeffrey (SPAC/PSPC)" userId="e10f0e9c-c03f-4fde-9113-11216b420c44" providerId="ADAL" clId="{0BEA5CCD-CDB7-477E-8756-157B9A0B9D9F}" dt="2024-07-29T17:21:56.551" v="590" actId="478"/>
          <ac:spMkLst>
            <pc:docMk/>
            <pc:sldMk cId="1684323998" sldId="386"/>
            <ac:spMk id="29" creationId="{D851AA64-F7DF-4636-9B10-F0C3D4B663AD}"/>
          </ac:spMkLst>
        </pc:spChg>
        <pc:spChg chg="del">
          <ac:chgData name="Elgee, Jeffrey (SPAC/PSPC)" userId="e10f0e9c-c03f-4fde-9113-11216b420c44" providerId="ADAL" clId="{0BEA5CCD-CDB7-477E-8756-157B9A0B9D9F}" dt="2024-07-29T17:22:02.386" v="592" actId="478"/>
          <ac:spMkLst>
            <pc:docMk/>
            <pc:sldMk cId="1684323998" sldId="386"/>
            <ac:spMk id="30" creationId="{4E56B51C-CFBB-4ED8-9F7B-B876946ED814}"/>
          </ac:spMkLst>
        </pc:spChg>
        <pc:grpChg chg="del">
          <ac:chgData name="Elgee, Jeffrey (SPAC/PSPC)" userId="e10f0e9c-c03f-4fde-9113-11216b420c44" providerId="ADAL" clId="{0BEA5CCD-CDB7-477E-8756-157B9A0B9D9F}" dt="2024-07-29T17:21:58.497" v="591" actId="478"/>
          <ac:grpSpMkLst>
            <pc:docMk/>
            <pc:sldMk cId="1684323998" sldId="386"/>
            <ac:grpSpMk id="27" creationId="{1B898CCD-99DE-4741-8268-46CC39423F9A}"/>
          </ac:grpSpMkLst>
        </pc:grpChg>
        <pc:grpChg chg="mod">
          <ac:chgData name="Elgee, Jeffrey (SPAC/PSPC)" userId="e10f0e9c-c03f-4fde-9113-11216b420c44" providerId="ADAL" clId="{0BEA5CCD-CDB7-477E-8756-157B9A0B9D9F}" dt="2024-07-30T13:36:11.020" v="1963" actId="1076"/>
          <ac:grpSpMkLst>
            <pc:docMk/>
            <pc:sldMk cId="1684323998" sldId="386"/>
            <ac:grpSpMk id="41" creationId="{0771C080-8346-4646-AF35-12941E0F9E4B}"/>
          </ac:grpSpMkLst>
        </pc:grpChg>
        <pc:picChg chg="mod">
          <ac:chgData name="Elgee, Jeffrey (SPAC/PSPC)" userId="e10f0e9c-c03f-4fde-9113-11216b420c44" providerId="ADAL" clId="{0BEA5CCD-CDB7-477E-8756-157B9A0B9D9F}" dt="2024-07-30T13:17:48.288" v="1847" actId="1037"/>
          <ac:picMkLst>
            <pc:docMk/>
            <pc:sldMk cId="1684323998" sldId="386"/>
            <ac:picMk id="33" creationId="{CA77D4E7-3FEA-4437-A84B-9ADC66A7392A}"/>
          </ac:picMkLst>
        </pc:picChg>
        <pc:picChg chg="mod">
          <ac:chgData name="Elgee, Jeffrey (SPAC/PSPC)" userId="e10f0e9c-c03f-4fde-9113-11216b420c44" providerId="ADAL" clId="{0BEA5CCD-CDB7-477E-8756-157B9A0B9D9F}" dt="2024-07-29T19:28:29.198" v="1450" actId="1037"/>
          <ac:picMkLst>
            <pc:docMk/>
            <pc:sldMk cId="1684323998" sldId="386"/>
            <ac:picMk id="35" creationId="{2BD0C0AB-C94D-4E89-909C-80B0B454BF9A}"/>
          </ac:picMkLst>
        </pc:picChg>
      </pc:sldChg>
      <pc:sldChg chg="del">
        <pc:chgData name="Elgee, Jeffrey (SPAC/PSPC)" userId="e10f0e9c-c03f-4fde-9113-11216b420c44" providerId="ADAL" clId="{0BEA5CCD-CDB7-477E-8756-157B9A0B9D9F}" dt="2024-07-29T15:54:57.337" v="0" actId="47"/>
        <pc:sldMkLst>
          <pc:docMk/>
          <pc:sldMk cId="2077896438" sldId="387"/>
        </pc:sldMkLst>
      </pc:sldChg>
      <pc:sldChg chg="del">
        <pc:chgData name="Elgee, Jeffrey (SPAC/PSPC)" userId="e10f0e9c-c03f-4fde-9113-11216b420c44" providerId="ADAL" clId="{0BEA5CCD-CDB7-477E-8756-157B9A0B9D9F}" dt="2024-07-29T18:51:37.549" v="594" actId="47"/>
        <pc:sldMkLst>
          <pc:docMk/>
          <pc:sldMk cId="1267248219" sldId="389"/>
        </pc:sldMkLst>
      </pc:sldChg>
      <pc:sldChg chg="addSp modSp add del mod ord modShow">
        <pc:chgData name="Elgee, Jeffrey (SPAC/PSPC)" userId="e10f0e9c-c03f-4fde-9113-11216b420c44" providerId="ADAL" clId="{0BEA5CCD-CDB7-477E-8756-157B9A0B9D9F}" dt="2024-08-15T14:13:08.363" v="5032" actId="47"/>
        <pc:sldMkLst>
          <pc:docMk/>
          <pc:sldMk cId="2349315685" sldId="390"/>
        </pc:sldMkLst>
        <pc:spChg chg="mod">
          <ac:chgData name="Elgee, Jeffrey (SPAC/PSPC)" userId="e10f0e9c-c03f-4fde-9113-11216b420c44" providerId="ADAL" clId="{0BEA5CCD-CDB7-477E-8756-157B9A0B9D9F}" dt="2024-07-30T13:30:27.376" v="1961"/>
          <ac:spMkLst>
            <pc:docMk/>
            <pc:sldMk cId="2349315685" sldId="390"/>
            <ac:spMk id="2" creationId="{0CA309F0-47F5-4925-B6FC-5879D9DAFE9A}"/>
          </ac:spMkLst>
        </pc:spChg>
        <pc:spChg chg="add mod">
          <ac:chgData name="Elgee, Jeffrey (SPAC/PSPC)" userId="e10f0e9c-c03f-4fde-9113-11216b420c44" providerId="ADAL" clId="{0BEA5CCD-CDB7-477E-8756-157B9A0B9D9F}" dt="2024-07-30T15:28:58.621" v="2859" actId="1076"/>
          <ac:spMkLst>
            <pc:docMk/>
            <pc:sldMk cId="2349315685" sldId="390"/>
            <ac:spMk id="3" creationId="{EFCEA3AD-652A-2E3C-82E8-E470B40EC39D}"/>
          </ac:spMkLst>
        </pc:spChg>
        <pc:picChg chg="add mod">
          <ac:chgData name="Elgee, Jeffrey (SPAC/PSPC)" userId="e10f0e9c-c03f-4fde-9113-11216b420c44" providerId="ADAL" clId="{0BEA5CCD-CDB7-477E-8756-157B9A0B9D9F}" dt="2024-07-30T15:28:58.621" v="2859" actId="1076"/>
          <ac:picMkLst>
            <pc:docMk/>
            <pc:sldMk cId="2349315685" sldId="390"/>
            <ac:picMk id="4" creationId="{44548675-DD25-8C92-DBAD-9246436965D8}"/>
          </ac:picMkLst>
        </pc:picChg>
      </pc:sldChg>
      <pc:sldChg chg="modSp del">
        <pc:chgData name="Elgee, Jeffrey (SPAC/PSPC)" userId="e10f0e9c-c03f-4fde-9113-11216b420c44" providerId="ADAL" clId="{0BEA5CCD-CDB7-477E-8756-157B9A0B9D9F}" dt="2024-07-30T13:56:14.602" v="2062" actId="47"/>
        <pc:sldMkLst>
          <pc:docMk/>
          <pc:sldMk cId="624957764" sldId="391"/>
        </pc:sldMkLst>
        <pc:spChg chg="mod">
          <ac:chgData name="Elgee, Jeffrey (SPAC/PSPC)" userId="e10f0e9c-c03f-4fde-9113-11216b420c44" providerId="ADAL" clId="{0BEA5CCD-CDB7-477E-8756-157B9A0B9D9F}" dt="2024-07-30T13:30:27.376" v="1961"/>
          <ac:spMkLst>
            <pc:docMk/>
            <pc:sldMk cId="624957764" sldId="391"/>
            <ac:spMk id="2" creationId="{0CA309F0-47F5-4925-B6FC-5879D9DAFE9A}"/>
          </ac:spMkLst>
        </pc:spChg>
      </pc:sldChg>
      <pc:sldChg chg="addSp modSp del mod modShow">
        <pc:chgData name="Elgee, Jeffrey (SPAC/PSPC)" userId="e10f0e9c-c03f-4fde-9113-11216b420c44" providerId="ADAL" clId="{0BEA5CCD-CDB7-477E-8756-157B9A0B9D9F}" dt="2024-07-31T17:50:54.392" v="4660" actId="47"/>
        <pc:sldMkLst>
          <pc:docMk/>
          <pc:sldMk cId="170717709" sldId="392"/>
        </pc:sldMkLst>
        <pc:spChg chg="mod">
          <ac:chgData name="Elgee, Jeffrey (SPAC/PSPC)" userId="e10f0e9c-c03f-4fde-9113-11216b420c44" providerId="ADAL" clId="{0BEA5CCD-CDB7-477E-8756-157B9A0B9D9F}" dt="2024-07-30T13:30:27.376" v="1961"/>
          <ac:spMkLst>
            <pc:docMk/>
            <pc:sldMk cId="170717709" sldId="392"/>
            <ac:spMk id="2" creationId="{D3A263AE-E6EA-4109-9421-FEA20DDC8F2B}"/>
          </ac:spMkLst>
        </pc:spChg>
        <pc:spChg chg="add mod">
          <ac:chgData name="Elgee, Jeffrey (SPAC/PSPC)" userId="e10f0e9c-c03f-4fde-9113-11216b420c44" providerId="ADAL" clId="{0BEA5CCD-CDB7-477E-8756-157B9A0B9D9F}" dt="2024-07-30T13:39:30.543" v="1987"/>
          <ac:spMkLst>
            <pc:docMk/>
            <pc:sldMk cId="170717709" sldId="392"/>
            <ac:spMk id="3" creationId="{96969885-5FF0-4B8A-142F-CA23AB95C285}"/>
          </ac:spMkLst>
        </pc:spChg>
        <pc:spChg chg="mod">
          <ac:chgData name="Elgee, Jeffrey (SPAC/PSPC)" userId="e10f0e9c-c03f-4fde-9113-11216b420c44" providerId="ADAL" clId="{0BEA5CCD-CDB7-477E-8756-157B9A0B9D9F}" dt="2024-07-30T13:44:38.866" v="2035" actId="255"/>
          <ac:spMkLst>
            <pc:docMk/>
            <pc:sldMk cId="170717709" sldId="392"/>
            <ac:spMk id="8" creationId="{A029BCDA-F483-4424-B067-C749AC7E2D51}"/>
          </ac:spMkLst>
        </pc:spChg>
        <pc:spChg chg="mod">
          <ac:chgData name="Elgee, Jeffrey (SPAC/PSPC)" userId="e10f0e9c-c03f-4fde-9113-11216b420c44" providerId="ADAL" clId="{0BEA5CCD-CDB7-477E-8756-157B9A0B9D9F}" dt="2024-07-30T13:44:49.557" v="2061" actId="1035"/>
          <ac:spMkLst>
            <pc:docMk/>
            <pc:sldMk cId="170717709" sldId="392"/>
            <ac:spMk id="9" creationId="{28F99DF7-835D-4673-B748-CF5A7DC68457}"/>
          </ac:spMkLst>
        </pc:spChg>
        <pc:spChg chg="mod">
          <ac:chgData name="Elgee, Jeffrey (SPAC/PSPC)" userId="e10f0e9c-c03f-4fde-9113-11216b420c44" providerId="ADAL" clId="{0BEA5CCD-CDB7-477E-8756-157B9A0B9D9F}" dt="2024-07-30T13:44:49.557" v="2061" actId="1035"/>
          <ac:spMkLst>
            <pc:docMk/>
            <pc:sldMk cId="170717709" sldId="392"/>
            <ac:spMk id="10" creationId="{07FC31D2-801A-49F5-9401-84E5F79C47BE}"/>
          </ac:spMkLst>
        </pc:spChg>
        <pc:spChg chg="mod">
          <ac:chgData name="Elgee, Jeffrey (SPAC/PSPC)" userId="e10f0e9c-c03f-4fde-9113-11216b420c44" providerId="ADAL" clId="{0BEA5CCD-CDB7-477E-8756-157B9A0B9D9F}" dt="2024-07-30T13:44:49.557" v="2061" actId="1035"/>
          <ac:spMkLst>
            <pc:docMk/>
            <pc:sldMk cId="170717709" sldId="392"/>
            <ac:spMk id="11" creationId="{5F36255B-0B0F-4718-884A-37815B058BB1}"/>
          </ac:spMkLst>
        </pc:spChg>
        <pc:spChg chg="mod">
          <ac:chgData name="Elgee, Jeffrey (SPAC/PSPC)" userId="e10f0e9c-c03f-4fde-9113-11216b420c44" providerId="ADAL" clId="{0BEA5CCD-CDB7-477E-8756-157B9A0B9D9F}" dt="2024-07-30T13:44:49.557" v="2061" actId="1035"/>
          <ac:spMkLst>
            <pc:docMk/>
            <pc:sldMk cId="170717709" sldId="392"/>
            <ac:spMk id="12" creationId="{36AADF42-D6C7-44D7-96A9-D874862F6B57}"/>
          </ac:spMkLst>
        </pc:spChg>
        <pc:spChg chg="mod">
          <ac:chgData name="Elgee, Jeffrey (SPAC/PSPC)" userId="e10f0e9c-c03f-4fde-9113-11216b420c44" providerId="ADAL" clId="{0BEA5CCD-CDB7-477E-8756-157B9A0B9D9F}" dt="2024-07-30T13:44:49.557" v="2061" actId="1035"/>
          <ac:spMkLst>
            <pc:docMk/>
            <pc:sldMk cId="170717709" sldId="392"/>
            <ac:spMk id="13" creationId="{B456FA8F-EA34-4812-B5F8-FC4F12F4AAC1}"/>
          </ac:spMkLst>
        </pc:spChg>
        <pc:spChg chg="mod">
          <ac:chgData name="Elgee, Jeffrey (SPAC/PSPC)" userId="e10f0e9c-c03f-4fde-9113-11216b420c44" providerId="ADAL" clId="{0BEA5CCD-CDB7-477E-8756-157B9A0B9D9F}" dt="2024-07-30T13:44:49.557" v="2061" actId="1035"/>
          <ac:spMkLst>
            <pc:docMk/>
            <pc:sldMk cId="170717709" sldId="392"/>
            <ac:spMk id="14" creationId="{F7F1E87D-31A2-49AF-8E2B-9FDEFCD9C261}"/>
          </ac:spMkLst>
        </pc:spChg>
        <pc:spChg chg="mod">
          <ac:chgData name="Elgee, Jeffrey (SPAC/PSPC)" userId="e10f0e9c-c03f-4fde-9113-11216b420c44" providerId="ADAL" clId="{0BEA5CCD-CDB7-477E-8756-157B9A0B9D9F}" dt="2024-07-30T13:44:49.557" v="2061" actId="1035"/>
          <ac:spMkLst>
            <pc:docMk/>
            <pc:sldMk cId="170717709" sldId="392"/>
            <ac:spMk id="15" creationId="{AE25B030-740F-4A0C-8352-EB17DCCAE28A}"/>
          </ac:spMkLst>
        </pc:spChg>
        <pc:spChg chg="mod">
          <ac:chgData name="Elgee, Jeffrey (SPAC/PSPC)" userId="e10f0e9c-c03f-4fde-9113-11216b420c44" providerId="ADAL" clId="{0BEA5CCD-CDB7-477E-8756-157B9A0B9D9F}" dt="2024-07-30T13:44:49.557" v="2061" actId="1035"/>
          <ac:spMkLst>
            <pc:docMk/>
            <pc:sldMk cId="170717709" sldId="392"/>
            <ac:spMk id="16" creationId="{6E268FE2-408D-4D74-9643-3004BDDC2A36}"/>
          </ac:spMkLst>
        </pc:spChg>
        <pc:spChg chg="mod">
          <ac:chgData name="Elgee, Jeffrey (SPAC/PSPC)" userId="e10f0e9c-c03f-4fde-9113-11216b420c44" providerId="ADAL" clId="{0BEA5CCD-CDB7-477E-8756-157B9A0B9D9F}" dt="2024-07-30T13:44:49.557" v="2061" actId="1035"/>
          <ac:spMkLst>
            <pc:docMk/>
            <pc:sldMk cId="170717709" sldId="392"/>
            <ac:spMk id="17" creationId="{BD8FD75B-32C7-4C68-9C0F-F90DBCC7D84C}"/>
          </ac:spMkLst>
        </pc:spChg>
        <pc:spChg chg="mod">
          <ac:chgData name="Elgee, Jeffrey (SPAC/PSPC)" userId="e10f0e9c-c03f-4fde-9113-11216b420c44" providerId="ADAL" clId="{0BEA5CCD-CDB7-477E-8756-157B9A0B9D9F}" dt="2024-07-30T13:44:49.557" v="2061" actId="1035"/>
          <ac:spMkLst>
            <pc:docMk/>
            <pc:sldMk cId="170717709" sldId="392"/>
            <ac:spMk id="18" creationId="{3EBF9B25-9E49-4624-8C82-B3025D1DAE0B}"/>
          </ac:spMkLst>
        </pc:spChg>
        <pc:spChg chg="mod">
          <ac:chgData name="Elgee, Jeffrey (SPAC/PSPC)" userId="e10f0e9c-c03f-4fde-9113-11216b420c44" providerId="ADAL" clId="{0BEA5CCD-CDB7-477E-8756-157B9A0B9D9F}" dt="2024-07-30T13:44:49.557" v="2061" actId="1035"/>
          <ac:spMkLst>
            <pc:docMk/>
            <pc:sldMk cId="170717709" sldId="392"/>
            <ac:spMk id="19" creationId="{EF8F501D-2ACA-4E02-BB73-676313AF0E75}"/>
          </ac:spMkLst>
        </pc:spChg>
        <pc:picChg chg="add mod">
          <ac:chgData name="Elgee, Jeffrey (SPAC/PSPC)" userId="e10f0e9c-c03f-4fde-9113-11216b420c44" providerId="ADAL" clId="{0BEA5CCD-CDB7-477E-8756-157B9A0B9D9F}" dt="2024-07-30T13:39:30.543" v="1987"/>
          <ac:picMkLst>
            <pc:docMk/>
            <pc:sldMk cId="170717709" sldId="392"/>
            <ac:picMk id="4" creationId="{08A6E40A-4A9A-3C14-135D-2203CC20FBF7}"/>
          </ac:picMkLst>
        </pc:picChg>
        <pc:picChg chg="mod">
          <ac:chgData name="Elgee, Jeffrey (SPAC/PSPC)" userId="e10f0e9c-c03f-4fde-9113-11216b420c44" providerId="ADAL" clId="{0BEA5CCD-CDB7-477E-8756-157B9A0B9D9F}" dt="2024-07-30T13:44:49.557" v="2061" actId="1035"/>
          <ac:picMkLst>
            <pc:docMk/>
            <pc:sldMk cId="170717709" sldId="392"/>
            <ac:picMk id="20" creationId="{7FCC107B-1B11-4B36-A22B-1597621685E9}"/>
          </ac:picMkLst>
        </pc:picChg>
      </pc:sldChg>
      <pc:sldChg chg="addSp delSp modSp del mod modShow">
        <pc:chgData name="Elgee, Jeffrey (SPAC/PSPC)" userId="e10f0e9c-c03f-4fde-9113-11216b420c44" providerId="ADAL" clId="{0BEA5CCD-CDB7-477E-8756-157B9A0B9D9F}" dt="2024-08-15T14:10:22.307" v="5027" actId="47"/>
        <pc:sldMkLst>
          <pc:docMk/>
          <pc:sldMk cId="986189170" sldId="393"/>
        </pc:sldMkLst>
        <pc:spChg chg="mod">
          <ac:chgData name="Elgee, Jeffrey (SPAC/PSPC)" userId="e10f0e9c-c03f-4fde-9113-11216b420c44" providerId="ADAL" clId="{0BEA5CCD-CDB7-477E-8756-157B9A0B9D9F}" dt="2024-07-30T13:30:27.376" v="1961"/>
          <ac:spMkLst>
            <pc:docMk/>
            <pc:sldMk cId="986189170" sldId="393"/>
            <ac:spMk id="2" creationId="{81BABC30-17CF-4A05-BBF2-C491854EEE86}"/>
          </ac:spMkLst>
        </pc:spChg>
        <pc:spChg chg="add mod ord">
          <ac:chgData name="Elgee, Jeffrey (SPAC/PSPC)" userId="e10f0e9c-c03f-4fde-9113-11216b420c44" providerId="ADAL" clId="{0BEA5CCD-CDB7-477E-8756-157B9A0B9D9F}" dt="2024-07-30T14:55:58.193" v="2581" actId="170"/>
          <ac:spMkLst>
            <pc:docMk/>
            <pc:sldMk cId="986189170" sldId="393"/>
            <ac:spMk id="3" creationId="{95A31F6C-BC75-4062-B21A-68B6ADEC68AE}"/>
          </ac:spMkLst>
        </pc:spChg>
        <pc:spChg chg="mod ord">
          <ac:chgData name="Elgee, Jeffrey (SPAC/PSPC)" userId="e10f0e9c-c03f-4fde-9113-11216b420c44" providerId="ADAL" clId="{0BEA5CCD-CDB7-477E-8756-157B9A0B9D9F}" dt="2024-07-30T14:55:51.348" v="2580" actId="171"/>
          <ac:spMkLst>
            <pc:docMk/>
            <pc:sldMk cId="986189170" sldId="393"/>
            <ac:spMk id="14" creationId="{0CACA278-8846-461F-8C90-36C80E352F7E}"/>
          </ac:spMkLst>
        </pc:spChg>
        <pc:spChg chg="del">
          <ac:chgData name="Elgee, Jeffrey (SPAC/PSPC)" userId="e10f0e9c-c03f-4fde-9113-11216b420c44" providerId="ADAL" clId="{0BEA5CCD-CDB7-477E-8756-157B9A0B9D9F}" dt="2024-07-30T14:32:44.685" v="2513" actId="478"/>
          <ac:spMkLst>
            <pc:docMk/>
            <pc:sldMk cId="986189170" sldId="393"/>
            <ac:spMk id="15" creationId="{95A31F6C-BC75-4062-B21A-68B6ADEC68AE}"/>
          </ac:spMkLst>
        </pc:spChg>
        <pc:spChg chg="mod">
          <ac:chgData name="Elgee, Jeffrey (SPAC/PSPC)" userId="e10f0e9c-c03f-4fde-9113-11216b420c44" providerId="ADAL" clId="{0BEA5CCD-CDB7-477E-8756-157B9A0B9D9F}" dt="2024-07-30T14:32:28.882" v="2512" actId="20577"/>
          <ac:spMkLst>
            <pc:docMk/>
            <pc:sldMk cId="986189170" sldId="393"/>
            <ac:spMk id="30" creationId="{1C711295-EFBB-4370-8A65-49D40DBA87E6}"/>
          </ac:spMkLst>
        </pc:spChg>
        <pc:spChg chg="mod">
          <ac:chgData name="Elgee, Jeffrey (SPAC/PSPC)" userId="e10f0e9c-c03f-4fde-9113-11216b420c44" providerId="ADAL" clId="{0BEA5CCD-CDB7-477E-8756-157B9A0B9D9F}" dt="2024-07-30T14:37:39.368" v="2522" actId="20577"/>
          <ac:spMkLst>
            <pc:docMk/>
            <pc:sldMk cId="986189170" sldId="393"/>
            <ac:spMk id="49" creationId="{78CC5D01-D6DD-4F92-AA98-55AB1B20A00F}"/>
          </ac:spMkLst>
        </pc:spChg>
        <pc:grpChg chg="mod">
          <ac:chgData name="Elgee, Jeffrey (SPAC/PSPC)" userId="e10f0e9c-c03f-4fde-9113-11216b420c44" providerId="ADAL" clId="{0BEA5CCD-CDB7-477E-8756-157B9A0B9D9F}" dt="2024-07-30T14:48:27.645" v="2541" actId="1076"/>
          <ac:grpSpMkLst>
            <pc:docMk/>
            <pc:sldMk cId="986189170" sldId="393"/>
            <ac:grpSpMk id="39" creationId="{C2191868-CCF5-4452-B018-92CA700DC7A2}"/>
          </ac:grpSpMkLst>
        </pc:grpChg>
        <pc:picChg chg="mod ord">
          <ac:chgData name="Elgee, Jeffrey (SPAC/PSPC)" userId="e10f0e9c-c03f-4fde-9113-11216b420c44" providerId="ADAL" clId="{0BEA5CCD-CDB7-477E-8756-157B9A0B9D9F}" dt="2024-07-30T14:48:16.127" v="2539" actId="1076"/>
          <ac:picMkLst>
            <pc:docMk/>
            <pc:sldMk cId="986189170" sldId="393"/>
            <ac:picMk id="32" creationId="{B3635091-EA6C-45BF-9324-CF1EBEF4F479}"/>
          </ac:picMkLst>
        </pc:picChg>
        <pc:cxnChg chg="ord">
          <ac:chgData name="Elgee, Jeffrey (SPAC/PSPC)" userId="e10f0e9c-c03f-4fde-9113-11216b420c44" providerId="ADAL" clId="{0BEA5CCD-CDB7-477E-8756-157B9A0B9D9F}" dt="2024-07-30T14:49:18.339" v="2553" actId="167"/>
          <ac:cxnSpMkLst>
            <pc:docMk/>
            <pc:sldMk cId="986189170" sldId="393"/>
            <ac:cxnSpMk id="10" creationId="{1B231655-D18E-4271-BA78-D0E1F28479E0}"/>
          </ac:cxnSpMkLst>
        </pc:cxnChg>
      </pc:sldChg>
      <pc:sldChg chg="addSp modSp del mod">
        <pc:chgData name="Elgee, Jeffrey (SPAC/PSPC)" userId="e10f0e9c-c03f-4fde-9113-11216b420c44" providerId="ADAL" clId="{0BEA5CCD-CDB7-477E-8756-157B9A0B9D9F}" dt="2024-07-30T15:37:09.590" v="2874" actId="47"/>
        <pc:sldMkLst>
          <pc:docMk/>
          <pc:sldMk cId="3604184265" sldId="394"/>
        </pc:sldMkLst>
        <pc:spChg chg="mod">
          <ac:chgData name="Elgee, Jeffrey (SPAC/PSPC)" userId="e10f0e9c-c03f-4fde-9113-11216b420c44" providerId="ADAL" clId="{0BEA5CCD-CDB7-477E-8756-157B9A0B9D9F}" dt="2024-07-30T13:30:27.376" v="1961"/>
          <ac:spMkLst>
            <pc:docMk/>
            <pc:sldMk cId="3604184265" sldId="394"/>
            <ac:spMk id="2" creationId="{2916B83A-8825-46D6-AAD4-A3DE1C50FC00}"/>
          </ac:spMkLst>
        </pc:spChg>
        <pc:spChg chg="add mod">
          <ac:chgData name="Elgee, Jeffrey (SPAC/PSPC)" userId="e10f0e9c-c03f-4fde-9113-11216b420c44" providerId="ADAL" clId="{0BEA5CCD-CDB7-477E-8756-157B9A0B9D9F}" dt="2024-07-30T15:30:01.737" v="2863" actId="1076"/>
          <ac:spMkLst>
            <pc:docMk/>
            <pc:sldMk cId="3604184265" sldId="394"/>
            <ac:spMk id="3" creationId="{842F57CC-E922-BF7E-2332-60537F1F313C}"/>
          </ac:spMkLst>
        </pc:spChg>
        <pc:picChg chg="add mod">
          <ac:chgData name="Elgee, Jeffrey (SPAC/PSPC)" userId="e10f0e9c-c03f-4fde-9113-11216b420c44" providerId="ADAL" clId="{0BEA5CCD-CDB7-477E-8756-157B9A0B9D9F}" dt="2024-07-30T15:29:50.979" v="2862" actId="1076"/>
          <ac:picMkLst>
            <pc:docMk/>
            <pc:sldMk cId="3604184265" sldId="394"/>
            <ac:picMk id="4" creationId="{22702DB3-A6B3-9DAD-25CF-93AF2503F2D4}"/>
          </ac:picMkLst>
        </pc:picChg>
      </pc:sldChg>
      <pc:sldChg chg="modSp del">
        <pc:chgData name="Elgee, Jeffrey (SPAC/PSPC)" userId="e10f0e9c-c03f-4fde-9113-11216b420c44" providerId="ADAL" clId="{0BEA5CCD-CDB7-477E-8756-157B9A0B9D9F}" dt="2024-07-30T14:28:07.122" v="2504" actId="47"/>
        <pc:sldMkLst>
          <pc:docMk/>
          <pc:sldMk cId="557100881" sldId="395"/>
        </pc:sldMkLst>
        <pc:spChg chg="mod">
          <ac:chgData name="Elgee, Jeffrey (SPAC/PSPC)" userId="e10f0e9c-c03f-4fde-9113-11216b420c44" providerId="ADAL" clId="{0BEA5CCD-CDB7-477E-8756-157B9A0B9D9F}" dt="2024-07-30T13:30:27.376" v="1961"/>
          <ac:spMkLst>
            <pc:docMk/>
            <pc:sldMk cId="557100881" sldId="395"/>
            <ac:spMk id="2" creationId="{278F3FA5-7923-4AC0-9E18-224E293A3524}"/>
          </ac:spMkLst>
        </pc:spChg>
      </pc:sldChg>
      <pc:sldChg chg="addSp modSp mod ord">
        <pc:chgData name="Elgee, Jeffrey (SPAC/PSPC)" userId="e10f0e9c-c03f-4fde-9113-11216b420c44" providerId="ADAL" clId="{0BEA5CCD-CDB7-477E-8756-157B9A0B9D9F}" dt="2024-08-14T17:23:29.137" v="5003"/>
        <pc:sldMkLst>
          <pc:docMk/>
          <pc:sldMk cId="2629830747" sldId="396"/>
        </pc:sldMkLst>
        <pc:spChg chg="mod">
          <ac:chgData name="Elgee, Jeffrey (SPAC/PSPC)" userId="e10f0e9c-c03f-4fde-9113-11216b420c44" providerId="ADAL" clId="{0BEA5CCD-CDB7-477E-8756-157B9A0B9D9F}" dt="2024-07-30T13:30:27.376" v="1961"/>
          <ac:spMkLst>
            <pc:docMk/>
            <pc:sldMk cId="2629830747" sldId="396"/>
            <ac:spMk id="2" creationId="{B258A90E-B601-4187-911F-105639F10A47}"/>
          </ac:spMkLst>
        </pc:spChg>
        <pc:spChg chg="add mod">
          <ac:chgData name="Elgee, Jeffrey (SPAC/PSPC)" userId="e10f0e9c-c03f-4fde-9113-11216b420c44" providerId="ADAL" clId="{0BEA5CCD-CDB7-477E-8756-157B9A0B9D9F}" dt="2024-07-30T15:29:28.091" v="2861" actId="1076"/>
          <ac:spMkLst>
            <pc:docMk/>
            <pc:sldMk cId="2629830747" sldId="396"/>
            <ac:spMk id="3" creationId="{70D16EB9-A5A9-9DDE-092E-70517F2D9712}"/>
          </ac:spMkLst>
        </pc:spChg>
        <pc:picChg chg="add mod">
          <ac:chgData name="Elgee, Jeffrey (SPAC/PSPC)" userId="e10f0e9c-c03f-4fde-9113-11216b420c44" providerId="ADAL" clId="{0BEA5CCD-CDB7-477E-8756-157B9A0B9D9F}" dt="2024-07-30T15:29:28.091" v="2861" actId="1076"/>
          <ac:picMkLst>
            <pc:docMk/>
            <pc:sldMk cId="2629830747" sldId="396"/>
            <ac:picMk id="4" creationId="{930F1124-43DC-4EEC-A32C-A73867D2FC36}"/>
          </ac:picMkLst>
        </pc:picChg>
      </pc:sldChg>
      <pc:sldChg chg="addSp modSp del mod">
        <pc:chgData name="Elgee, Jeffrey (SPAC/PSPC)" userId="e10f0e9c-c03f-4fde-9113-11216b420c44" providerId="ADAL" clId="{0BEA5CCD-CDB7-477E-8756-157B9A0B9D9F}" dt="2024-07-30T15:37:26.250" v="2875" actId="2696"/>
        <pc:sldMkLst>
          <pc:docMk/>
          <pc:sldMk cId="1562851343" sldId="397"/>
        </pc:sldMkLst>
        <pc:spChg chg="mod">
          <ac:chgData name="Elgee, Jeffrey (SPAC/PSPC)" userId="e10f0e9c-c03f-4fde-9113-11216b420c44" providerId="ADAL" clId="{0BEA5CCD-CDB7-477E-8756-157B9A0B9D9F}" dt="2024-07-30T13:30:27.376" v="1961"/>
          <ac:spMkLst>
            <pc:docMk/>
            <pc:sldMk cId="1562851343" sldId="397"/>
            <ac:spMk id="2" creationId="{9DC1350E-EEEF-47AA-83A4-E3D5D0694796}"/>
          </ac:spMkLst>
        </pc:spChg>
        <pc:spChg chg="add mod">
          <ac:chgData name="Elgee, Jeffrey (SPAC/PSPC)" userId="e10f0e9c-c03f-4fde-9113-11216b420c44" providerId="ADAL" clId="{0BEA5CCD-CDB7-477E-8756-157B9A0B9D9F}" dt="2024-07-30T15:30:13.627" v="2864" actId="1076"/>
          <ac:spMkLst>
            <pc:docMk/>
            <pc:sldMk cId="1562851343" sldId="397"/>
            <ac:spMk id="3" creationId="{914C6D2B-A37C-287A-83A2-D98E2BCC2C62}"/>
          </ac:spMkLst>
        </pc:spChg>
        <pc:picChg chg="add mod">
          <ac:chgData name="Elgee, Jeffrey (SPAC/PSPC)" userId="e10f0e9c-c03f-4fde-9113-11216b420c44" providerId="ADAL" clId="{0BEA5CCD-CDB7-477E-8756-157B9A0B9D9F}" dt="2024-07-30T15:30:13.627" v="2864" actId="1076"/>
          <ac:picMkLst>
            <pc:docMk/>
            <pc:sldMk cId="1562851343" sldId="397"/>
            <ac:picMk id="4" creationId="{BA1D12E5-1C73-B995-2FBE-ECB5A240739F}"/>
          </ac:picMkLst>
        </pc:picChg>
      </pc:sldChg>
      <pc:sldChg chg="addSp delSp modSp del mod">
        <pc:chgData name="Elgee, Jeffrey (SPAC/PSPC)" userId="e10f0e9c-c03f-4fde-9113-11216b420c44" providerId="ADAL" clId="{0BEA5CCD-CDB7-477E-8756-157B9A0B9D9F}" dt="2024-07-31T18:13:48.867" v="4711" actId="47"/>
        <pc:sldMkLst>
          <pc:docMk/>
          <pc:sldMk cId="425071425" sldId="398"/>
        </pc:sldMkLst>
        <pc:spChg chg="mod">
          <ac:chgData name="Elgee, Jeffrey (SPAC/PSPC)" userId="e10f0e9c-c03f-4fde-9113-11216b420c44" providerId="ADAL" clId="{0BEA5CCD-CDB7-477E-8756-157B9A0B9D9F}" dt="2024-07-30T13:30:27.376" v="1961"/>
          <ac:spMkLst>
            <pc:docMk/>
            <pc:sldMk cId="425071425" sldId="398"/>
            <ac:spMk id="2" creationId="{25ADEEDC-78CB-455A-88E5-C11ACC34C166}"/>
          </ac:spMkLst>
        </pc:spChg>
        <pc:spChg chg="add mod">
          <ac:chgData name="Elgee, Jeffrey (SPAC/PSPC)" userId="e10f0e9c-c03f-4fde-9113-11216b420c44" providerId="ADAL" clId="{0BEA5CCD-CDB7-477E-8756-157B9A0B9D9F}" dt="2024-07-30T15:28:43.708" v="2858" actId="1076"/>
          <ac:spMkLst>
            <pc:docMk/>
            <pc:sldMk cId="425071425" sldId="398"/>
            <ac:spMk id="4" creationId="{7C59498A-94CE-240C-5981-77D198AFCDBD}"/>
          </ac:spMkLst>
        </pc:spChg>
        <pc:spChg chg="del mod">
          <ac:chgData name="Elgee, Jeffrey (SPAC/PSPC)" userId="e10f0e9c-c03f-4fde-9113-11216b420c44" providerId="ADAL" clId="{0BEA5CCD-CDB7-477E-8756-157B9A0B9D9F}" dt="2024-07-30T16:08:21.785" v="2926" actId="478"/>
          <ac:spMkLst>
            <pc:docMk/>
            <pc:sldMk cId="425071425" sldId="398"/>
            <ac:spMk id="6" creationId="{A3D5E637-4E3C-416C-8880-10F329AC1531}"/>
          </ac:spMkLst>
        </pc:spChg>
        <pc:picChg chg="add mod">
          <ac:chgData name="Elgee, Jeffrey (SPAC/PSPC)" userId="e10f0e9c-c03f-4fde-9113-11216b420c44" providerId="ADAL" clId="{0BEA5CCD-CDB7-477E-8756-157B9A0B9D9F}" dt="2024-07-30T15:28:43.708" v="2858" actId="1076"/>
          <ac:picMkLst>
            <pc:docMk/>
            <pc:sldMk cId="425071425" sldId="398"/>
            <ac:picMk id="5" creationId="{1A437EEB-80E6-D13E-9907-D789486444E7}"/>
          </ac:picMkLst>
        </pc:picChg>
      </pc:sldChg>
      <pc:sldChg chg="modSp del">
        <pc:chgData name="Elgee, Jeffrey (SPAC/PSPC)" userId="e10f0e9c-c03f-4fde-9113-11216b420c44" providerId="ADAL" clId="{0BEA5CCD-CDB7-477E-8756-157B9A0B9D9F}" dt="2024-07-30T13:56:18.165" v="2063" actId="47"/>
        <pc:sldMkLst>
          <pc:docMk/>
          <pc:sldMk cId="3227355639" sldId="400"/>
        </pc:sldMkLst>
        <pc:spChg chg="mod">
          <ac:chgData name="Elgee, Jeffrey (SPAC/PSPC)" userId="e10f0e9c-c03f-4fde-9113-11216b420c44" providerId="ADAL" clId="{0BEA5CCD-CDB7-477E-8756-157B9A0B9D9F}" dt="2024-07-30T13:30:27.376" v="1961"/>
          <ac:spMkLst>
            <pc:docMk/>
            <pc:sldMk cId="3227355639" sldId="400"/>
            <ac:spMk id="2" creationId="{EDAC6BAA-31B6-4381-BAD9-5403CDE86C18}"/>
          </ac:spMkLst>
        </pc:spChg>
      </pc:sldChg>
      <pc:sldChg chg="addSp modSp add del mod ord modShow modNotesTx">
        <pc:chgData name="Elgee, Jeffrey (SPAC/PSPC)" userId="e10f0e9c-c03f-4fde-9113-11216b420c44" providerId="ADAL" clId="{0BEA5CCD-CDB7-477E-8756-157B9A0B9D9F}" dt="2024-08-15T14:24:11.904" v="5604" actId="20577"/>
        <pc:sldMkLst>
          <pc:docMk/>
          <pc:sldMk cId="3182586037" sldId="401"/>
        </pc:sldMkLst>
        <pc:spChg chg="mod">
          <ac:chgData name="Elgee, Jeffrey (SPAC/PSPC)" userId="e10f0e9c-c03f-4fde-9113-11216b420c44" providerId="ADAL" clId="{0BEA5CCD-CDB7-477E-8756-157B9A0B9D9F}" dt="2024-08-15T14:14:24.596" v="5152" actId="20577"/>
          <ac:spMkLst>
            <pc:docMk/>
            <pc:sldMk cId="3182586037" sldId="401"/>
            <ac:spMk id="2" creationId="{15A84292-B564-42A1-87E0-C35F7892D6D3}"/>
          </ac:spMkLst>
        </pc:spChg>
        <pc:spChg chg="add mod">
          <ac:chgData name="Elgee, Jeffrey (SPAC/PSPC)" userId="e10f0e9c-c03f-4fde-9113-11216b420c44" providerId="ADAL" clId="{0BEA5CCD-CDB7-477E-8756-157B9A0B9D9F}" dt="2024-07-30T15:29:13.212" v="2860" actId="1076"/>
          <ac:spMkLst>
            <pc:docMk/>
            <pc:sldMk cId="3182586037" sldId="401"/>
            <ac:spMk id="8" creationId="{C1447EFF-BD58-C00C-E106-22D7EC19A520}"/>
          </ac:spMkLst>
        </pc:spChg>
        <pc:picChg chg="add mod">
          <ac:chgData name="Elgee, Jeffrey (SPAC/PSPC)" userId="e10f0e9c-c03f-4fde-9113-11216b420c44" providerId="ADAL" clId="{0BEA5CCD-CDB7-477E-8756-157B9A0B9D9F}" dt="2024-07-30T15:29:13.212" v="2860" actId="1076"/>
          <ac:picMkLst>
            <pc:docMk/>
            <pc:sldMk cId="3182586037" sldId="401"/>
            <ac:picMk id="21" creationId="{61C07902-73C4-83BB-F2F8-6E7FD0B9C471}"/>
          </ac:picMkLst>
        </pc:picChg>
      </pc:sldChg>
      <pc:sldChg chg="addSp modSp del mod">
        <pc:chgData name="Elgee, Jeffrey (SPAC/PSPC)" userId="e10f0e9c-c03f-4fde-9113-11216b420c44" providerId="ADAL" clId="{0BEA5CCD-CDB7-477E-8756-157B9A0B9D9F}" dt="2024-07-31T18:11:25.674" v="4710" actId="47"/>
        <pc:sldMkLst>
          <pc:docMk/>
          <pc:sldMk cId="1860664748" sldId="402"/>
        </pc:sldMkLst>
        <pc:spChg chg="mod">
          <ac:chgData name="Elgee, Jeffrey (SPAC/PSPC)" userId="e10f0e9c-c03f-4fde-9113-11216b420c44" providerId="ADAL" clId="{0BEA5CCD-CDB7-477E-8756-157B9A0B9D9F}" dt="2024-07-30T13:30:27.376" v="1961"/>
          <ac:spMkLst>
            <pc:docMk/>
            <pc:sldMk cId="1860664748" sldId="402"/>
            <ac:spMk id="2" creationId="{9DC1350E-EEEF-47AA-83A4-E3D5D0694796}"/>
          </ac:spMkLst>
        </pc:spChg>
        <pc:spChg chg="add mod">
          <ac:chgData name="Elgee, Jeffrey (SPAC/PSPC)" userId="e10f0e9c-c03f-4fde-9113-11216b420c44" providerId="ADAL" clId="{0BEA5CCD-CDB7-477E-8756-157B9A0B9D9F}" dt="2024-07-30T15:30:40.138" v="2865" actId="1076"/>
          <ac:spMkLst>
            <pc:docMk/>
            <pc:sldMk cId="1860664748" sldId="402"/>
            <ac:spMk id="3" creationId="{45A50A5C-D99D-456E-31FF-6F25A0212420}"/>
          </ac:spMkLst>
        </pc:spChg>
        <pc:picChg chg="add mod">
          <ac:chgData name="Elgee, Jeffrey (SPAC/PSPC)" userId="e10f0e9c-c03f-4fde-9113-11216b420c44" providerId="ADAL" clId="{0BEA5CCD-CDB7-477E-8756-157B9A0B9D9F}" dt="2024-07-30T15:30:40.138" v="2865" actId="1076"/>
          <ac:picMkLst>
            <pc:docMk/>
            <pc:sldMk cId="1860664748" sldId="402"/>
            <ac:picMk id="4" creationId="{02985492-F2B9-8121-33DC-64694204E901}"/>
          </ac:picMkLst>
        </pc:picChg>
      </pc:sldChg>
      <pc:sldChg chg="del">
        <pc:chgData name="Elgee, Jeffrey (SPAC/PSPC)" userId="e10f0e9c-c03f-4fde-9113-11216b420c44" providerId="ADAL" clId="{0BEA5CCD-CDB7-477E-8756-157B9A0B9D9F}" dt="2024-07-29T16:37:43.491" v="422" actId="47"/>
        <pc:sldMkLst>
          <pc:docMk/>
          <pc:sldMk cId="3306026229" sldId="403"/>
        </pc:sldMkLst>
      </pc:sldChg>
      <pc:sldChg chg="del">
        <pc:chgData name="Elgee, Jeffrey (SPAC/PSPC)" userId="e10f0e9c-c03f-4fde-9113-11216b420c44" providerId="ADAL" clId="{0BEA5CCD-CDB7-477E-8756-157B9A0B9D9F}" dt="2024-07-29T16:37:43.491" v="422" actId="47"/>
        <pc:sldMkLst>
          <pc:docMk/>
          <pc:sldMk cId="462943816" sldId="406"/>
        </pc:sldMkLst>
      </pc:sldChg>
      <pc:sldChg chg="del">
        <pc:chgData name="Elgee, Jeffrey (SPAC/PSPC)" userId="e10f0e9c-c03f-4fde-9113-11216b420c44" providerId="ADAL" clId="{0BEA5CCD-CDB7-477E-8756-157B9A0B9D9F}" dt="2024-07-29T16:37:43.491" v="422" actId="47"/>
        <pc:sldMkLst>
          <pc:docMk/>
          <pc:sldMk cId="2466612922" sldId="407"/>
        </pc:sldMkLst>
      </pc:sldChg>
      <pc:sldChg chg="del">
        <pc:chgData name="Elgee, Jeffrey (SPAC/PSPC)" userId="e10f0e9c-c03f-4fde-9113-11216b420c44" providerId="ADAL" clId="{0BEA5CCD-CDB7-477E-8756-157B9A0B9D9F}" dt="2024-07-29T16:37:43.491" v="422" actId="47"/>
        <pc:sldMkLst>
          <pc:docMk/>
          <pc:sldMk cId="1506004974" sldId="408"/>
        </pc:sldMkLst>
      </pc:sldChg>
      <pc:sldChg chg="modSp del mod">
        <pc:chgData name="Elgee, Jeffrey (SPAC/PSPC)" userId="e10f0e9c-c03f-4fde-9113-11216b420c44" providerId="ADAL" clId="{0BEA5CCD-CDB7-477E-8756-157B9A0B9D9F}" dt="2024-07-30T16:04:38.912" v="2924" actId="47"/>
        <pc:sldMkLst>
          <pc:docMk/>
          <pc:sldMk cId="2997729576" sldId="409"/>
        </pc:sldMkLst>
        <pc:spChg chg="mod">
          <ac:chgData name="Elgee, Jeffrey (SPAC/PSPC)" userId="e10f0e9c-c03f-4fde-9113-11216b420c44" providerId="ADAL" clId="{0BEA5CCD-CDB7-477E-8756-157B9A0B9D9F}" dt="2024-07-30T13:30:27.376" v="1961"/>
          <ac:spMkLst>
            <pc:docMk/>
            <pc:sldMk cId="2997729576" sldId="409"/>
            <ac:spMk id="2" creationId="{2A8A85DB-82AC-4701-A4FC-0373FBDE8BEE}"/>
          </ac:spMkLst>
        </pc:spChg>
        <pc:spChg chg="mod">
          <ac:chgData name="Elgee, Jeffrey (SPAC/PSPC)" userId="e10f0e9c-c03f-4fde-9113-11216b420c44" providerId="ADAL" clId="{0BEA5CCD-CDB7-477E-8756-157B9A0B9D9F}" dt="2024-07-29T16:32:16.604" v="421" actId="5793"/>
          <ac:spMkLst>
            <pc:docMk/>
            <pc:sldMk cId="2997729576" sldId="409"/>
            <ac:spMk id="4" creationId="{746FAADD-EA1A-4200-8B8D-8A21154CF60A}"/>
          </ac:spMkLst>
        </pc:spChg>
      </pc:sldChg>
      <pc:sldChg chg="del">
        <pc:chgData name="Elgee, Jeffrey (SPAC/PSPC)" userId="e10f0e9c-c03f-4fde-9113-11216b420c44" providerId="ADAL" clId="{0BEA5CCD-CDB7-477E-8756-157B9A0B9D9F}" dt="2024-07-29T16:37:43.491" v="422" actId="47"/>
        <pc:sldMkLst>
          <pc:docMk/>
          <pc:sldMk cId="1492418147" sldId="411"/>
        </pc:sldMkLst>
      </pc:sldChg>
      <pc:sldChg chg="addSp delSp modSp add mod ord modNotesTx">
        <pc:chgData name="Elgee, Jeffrey (SPAC/PSPC)" userId="e10f0e9c-c03f-4fde-9113-11216b420c44" providerId="ADAL" clId="{0BEA5CCD-CDB7-477E-8756-157B9A0B9D9F}" dt="2024-08-14T16:04:57.067" v="4732" actId="20577"/>
        <pc:sldMkLst>
          <pc:docMk/>
          <pc:sldMk cId="3015862920" sldId="4985"/>
        </pc:sldMkLst>
        <pc:spChg chg="mod">
          <ac:chgData name="Elgee, Jeffrey (SPAC/PSPC)" userId="e10f0e9c-c03f-4fde-9113-11216b420c44" providerId="ADAL" clId="{0BEA5CCD-CDB7-477E-8756-157B9A0B9D9F}" dt="2024-07-30T13:37:23.092" v="1984" actId="20577"/>
          <ac:spMkLst>
            <pc:docMk/>
            <pc:sldMk cId="3015862920" sldId="4985"/>
            <ac:spMk id="2" creationId="{23CE6DA8-6FD6-77EF-D7A3-C3773CB1AD0F}"/>
          </ac:spMkLst>
        </pc:spChg>
        <pc:spChg chg="add mod">
          <ac:chgData name="Elgee, Jeffrey (SPAC/PSPC)" userId="e10f0e9c-c03f-4fde-9113-11216b420c44" providerId="ADAL" clId="{0BEA5CCD-CDB7-477E-8756-157B9A0B9D9F}" dt="2024-07-30T13:37:41.764" v="1986" actId="1076"/>
          <ac:spMkLst>
            <pc:docMk/>
            <pc:sldMk cId="3015862920" sldId="4985"/>
            <ac:spMk id="3" creationId="{1A065890-FE85-C817-884E-5CAA512A2ADA}"/>
          </ac:spMkLst>
        </pc:spChg>
        <pc:spChg chg="add del">
          <ac:chgData name="Elgee, Jeffrey (SPAC/PSPC)" userId="e10f0e9c-c03f-4fde-9113-11216b420c44" providerId="ADAL" clId="{0BEA5CCD-CDB7-477E-8756-157B9A0B9D9F}" dt="2024-07-30T15:44:33.586" v="2905" actId="22"/>
          <ac:spMkLst>
            <pc:docMk/>
            <pc:sldMk cId="3015862920" sldId="4985"/>
            <ac:spMk id="7" creationId="{F28ACA6D-A0C1-1466-2034-03974BE869D7}"/>
          </ac:spMkLst>
        </pc:spChg>
        <pc:picChg chg="add mod">
          <ac:chgData name="Elgee, Jeffrey (SPAC/PSPC)" userId="e10f0e9c-c03f-4fde-9113-11216b420c44" providerId="ADAL" clId="{0BEA5CCD-CDB7-477E-8756-157B9A0B9D9F}" dt="2024-07-30T13:37:41.764" v="1986" actId="1076"/>
          <ac:picMkLst>
            <pc:docMk/>
            <pc:sldMk cId="3015862920" sldId="4985"/>
            <ac:picMk id="5" creationId="{F5038601-879A-7B21-293B-1A88C55B1DC2}"/>
          </ac:picMkLst>
        </pc:picChg>
      </pc:sldChg>
      <pc:sldChg chg="modSp">
        <pc:chgData name="Elgee, Jeffrey (SPAC/PSPC)" userId="e10f0e9c-c03f-4fde-9113-11216b420c44" providerId="ADAL" clId="{0BEA5CCD-CDB7-477E-8756-157B9A0B9D9F}" dt="2024-07-30T13:30:27.376" v="1961"/>
        <pc:sldMkLst>
          <pc:docMk/>
          <pc:sldMk cId="625183133" sldId="4986"/>
        </pc:sldMkLst>
        <pc:spChg chg="mod">
          <ac:chgData name="Elgee, Jeffrey (SPAC/PSPC)" userId="e10f0e9c-c03f-4fde-9113-11216b420c44" providerId="ADAL" clId="{0BEA5CCD-CDB7-477E-8756-157B9A0B9D9F}" dt="2024-07-30T13:30:27.376" v="1961"/>
          <ac:spMkLst>
            <pc:docMk/>
            <pc:sldMk cId="625183133" sldId="4986"/>
            <ac:spMk id="2" creationId="{459AFBF6-A3FE-12ED-8681-E058ECB7745D}"/>
          </ac:spMkLst>
        </pc:spChg>
      </pc:sldChg>
      <pc:sldChg chg="modSp add mod ord delCm modNotesTx">
        <pc:chgData name="Elgee, Jeffrey (SPAC/PSPC)" userId="e10f0e9c-c03f-4fde-9113-11216b420c44" providerId="ADAL" clId="{0BEA5CCD-CDB7-477E-8756-157B9A0B9D9F}" dt="2024-08-15T14:02:53.278" v="5007" actId="27636"/>
        <pc:sldMkLst>
          <pc:docMk/>
          <pc:sldMk cId="2912528862" sldId="4991"/>
        </pc:sldMkLst>
        <pc:spChg chg="mod">
          <ac:chgData name="Elgee, Jeffrey (SPAC/PSPC)" userId="e10f0e9c-c03f-4fde-9113-11216b420c44" providerId="ADAL" clId="{0BEA5CCD-CDB7-477E-8756-157B9A0B9D9F}" dt="2024-08-15T14:02:53.278" v="5007" actId="27636"/>
          <ac:spMkLst>
            <pc:docMk/>
            <pc:sldMk cId="2912528862" sldId="4991"/>
            <ac:spMk id="3" creationId="{850EFA27-BB7E-A97B-CC4E-5CD87E1BCE56}"/>
          </ac:spMkLst>
        </pc:spChg>
        <pc:extLst>
          <p:ext xmlns:p="http://schemas.openxmlformats.org/presentationml/2006/main" uri="{D6D511B9-2390-475A-947B-AFAB55BFBCF1}">
            <pc226:cmChg xmlns:pc226="http://schemas.microsoft.com/office/powerpoint/2022/06/main/command" chg="del">
              <pc226:chgData name="Elgee, Jeffrey (SPAC/PSPC)" userId="e10f0e9c-c03f-4fde-9113-11216b420c44" providerId="ADAL" clId="{0BEA5CCD-CDB7-477E-8756-157B9A0B9D9F}" dt="2024-08-14T17:07:47.114" v="4773"/>
              <pc2:cmMkLst xmlns:pc2="http://schemas.microsoft.com/office/powerpoint/2019/9/main/command">
                <pc:docMk/>
                <pc:sldMk cId="2912528862" sldId="4991"/>
                <pc2:cmMk id="{A671E939-DC8C-4E10-9919-42392E18B6FD}"/>
              </pc2:cmMkLst>
            </pc226:cmChg>
          </p:ext>
        </pc:extLst>
      </pc:sldChg>
      <pc:sldChg chg="modSp">
        <pc:chgData name="Elgee, Jeffrey (SPAC/PSPC)" userId="e10f0e9c-c03f-4fde-9113-11216b420c44" providerId="ADAL" clId="{0BEA5CCD-CDB7-477E-8756-157B9A0B9D9F}" dt="2024-07-30T13:30:27.376" v="1961"/>
        <pc:sldMkLst>
          <pc:docMk/>
          <pc:sldMk cId="581567723" sldId="4998"/>
        </pc:sldMkLst>
        <pc:spChg chg="mod">
          <ac:chgData name="Elgee, Jeffrey (SPAC/PSPC)" userId="e10f0e9c-c03f-4fde-9113-11216b420c44" providerId="ADAL" clId="{0BEA5CCD-CDB7-477E-8756-157B9A0B9D9F}" dt="2024-07-30T13:30:27.376" v="1961"/>
          <ac:spMkLst>
            <pc:docMk/>
            <pc:sldMk cId="581567723" sldId="4998"/>
            <ac:spMk id="2" creationId="{9DE119AA-C27C-1F93-8533-D6E1F56A43A8}"/>
          </ac:spMkLst>
        </pc:spChg>
      </pc:sldChg>
      <pc:sldChg chg="addSp delSp modSp add mod">
        <pc:chgData name="Elgee, Jeffrey (SPAC/PSPC)" userId="e10f0e9c-c03f-4fde-9113-11216b420c44" providerId="ADAL" clId="{0BEA5CCD-CDB7-477E-8756-157B9A0B9D9F}" dt="2024-07-31T15:23:59.979" v="4111" actId="1076"/>
        <pc:sldMkLst>
          <pc:docMk/>
          <pc:sldMk cId="4030298912" sldId="4999"/>
        </pc:sldMkLst>
        <pc:spChg chg="mod">
          <ac:chgData name="Elgee, Jeffrey (SPAC/PSPC)" userId="e10f0e9c-c03f-4fde-9113-11216b420c44" providerId="ADAL" clId="{0BEA5CCD-CDB7-477E-8756-157B9A0B9D9F}" dt="2024-07-31T15:23:17.351" v="4110" actId="20577"/>
          <ac:spMkLst>
            <pc:docMk/>
            <pc:sldMk cId="4030298912" sldId="4999"/>
            <ac:spMk id="2" creationId="{530A314D-74C9-43F8-A8C5-E61B4C92159E}"/>
          </ac:spMkLst>
        </pc:spChg>
        <pc:spChg chg="add mod">
          <ac:chgData name="Elgee, Jeffrey (SPAC/PSPC)" userId="e10f0e9c-c03f-4fde-9113-11216b420c44" providerId="ADAL" clId="{0BEA5CCD-CDB7-477E-8756-157B9A0B9D9F}" dt="2024-07-30T14:19:42.906" v="2286" actId="1037"/>
          <ac:spMkLst>
            <pc:docMk/>
            <pc:sldMk cId="4030298912" sldId="4999"/>
            <ac:spMk id="4" creationId="{357BB93D-599A-6427-6C1D-0F45BA921288}"/>
          </ac:spMkLst>
        </pc:spChg>
        <pc:spChg chg="mod">
          <ac:chgData name="Elgee, Jeffrey (SPAC/PSPC)" userId="e10f0e9c-c03f-4fde-9113-11216b420c44" providerId="ADAL" clId="{0BEA5CCD-CDB7-477E-8756-157B9A0B9D9F}" dt="2024-07-30T15:40:39.061" v="2881" actId="1076"/>
          <ac:spMkLst>
            <pc:docMk/>
            <pc:sldMk cId="4030298912" sldId="4999"/>
            <ac:spMk id="11" creationId="{EAD0A152-C62E-4761-ADE3-7F36EDECB88C}"/>
          </ac:spMkLst>
        </pc:spChg>
        <pc:spChg chg="mod">
          <ac:chgData name="Elgee, Jeffrey (SPAC/PSPC)" userId="e10f0e9c-c03f-4fde-9113-11216b420c44" providerId="ADAL" clId="{0BEA5CCD-CDB7-477E-8756-157B9A0B9D9F}" dt="2024-07-30T15:40:43.192" v="2882" actId="1076"/>
          <ac:spMkLst>
            <pc:docMk/>
            <pc:sldMk cId="4030298912" sldId="4999"/>
            <ac:spMk id="12" creationId="{381A6DF4-DEEE-4465-83D3-0C713E5A99A6}"/>
          </ac:spMkLst>
        </pc:spChg>
        <pc:spChg chg="mod">
          <ac:chgData name="Elgee, Jeffrey (SPAC/PSPC)" userId="e10f0e9c-c03f-4fde-9113-11216b420c44" providerId="ADAL" clId="{0BEA5CCD-CDB7-477E-8756-157B9A0B9D9F}" dt="2024-07-31T15:18:52.990" v="4058" actId="20577"/>
          <ac:spMkLst>
            <pc:docMk/>
            <pc:sldMk cId="4030298912" sldId="4999"/>
            <ac:spMk id="13" creationId="{CBDCD3B3-6EF9-475F-8F76-2A1201FC03F1}"/>
          </ac:spMkLst>
        </pc:spChg>
        <pc:spChg chg="mod">
          <ac:chgData name="Elgee, Jeffrey (SPAC/PSPC)" userId="e10f0e9c-c03f-4fde-9113-11216b420c44" providerId="ADAL" clId="{0BEA5CCD-CDB7-477E-8756-157B9A0B9D9F}" dt="2024-07-31T15:17:05.815" v="4040" actId="255"/>
          <ac:spMkLst>
            <pc:docMk/>
            <pc:sldMk cId="4030298912" sldId="4999"/>
            <ac:spMk id="14" creationId="{19BF262A-36CF-40B6-9C6C-06CA0186C123}"/>
          </ac:spMkLst>
        </pc:spChg>
        <pc:spChg chg="mod">
          <ac:chgData name="Elgee, Jeffrey (SPAC/PSPC)" userId="e10f0e9c-c03f-4fde-9113-11216b420c44" providerId="ADAL" clId="{0BEA5CCD-CDB7-477E-8756-157B9A0B9D9F}" dt="2024-07-31T15:16:53.133" v="4039" actId="1076"/>
          <ac:spMkLst>
            <pc:docMk/>
            <pc:sldMk cId="4030298912" sldId="4999"/>
            <ac:spMk id="15" creationId="{25260485-4F7D-4488-A88E-C7AC0E82B1B0}"/>
          </ac:spMkLst>
        </pc:spChg>
        <pc:spChg chg="del mod ord">
          <ac:chgData name="Elgee, Jeffrey (SPAC/PSPC)" userId="e10f0e9c-c03f-4fde-9113-11216b420c44" providerId="ADAL" clId="{0BEA5CCD-CDB7-477E-8756-157B9A0B9D9F}" dt="2024-07-30T14:16:02.334" v="2106" actId="478"/>
          <ac:spMkLst>
            <pc:docMk/>
            <pc:sldMk cId="4030298912" sldId="4999"/>
            <ac:spMk id="17" creationId="{8CA12FE9-EE5F-4421-8CE3-1E446D37FF5C}"/>
          </ac:spMkLst>
        </pc:spChg>
        <pc:spChg chg="mod ord">
          <ac:chgData name="Elgee, Jeffrey (SPAC/PSPC)" userId="e10f0e9c-c03f-4fde-9113-11216b420c44" providerId="ADAL" clId="{0BEA5CCD-CDB7-477E-8756-157B9A0B9D9F}" dt="2024-07-30T14:19:47.987" v="2294" actId="1037"/>
          <ac:spMkLst>
            <pc:docMk/>
            <pc:sldMk cId="4030298912" sldId="4999"/>
            <ac:spMk id="18" creationId="{185A7B5A-E0AE-4F7F-BEE1-3D3A495164C6}"/>
          </ac:spMkLst>
        </pc:spChg>
        <pc:spChg chg="mod ord">
          <ac:chgData name="Elgee, Jeffrey (SPAC/PSPC)" userId="e10f0e9c-c03f-4fde-9113-11216b420c44" providerId="ADAL" clId="{0BEA5CCD-CDB7-477E-8756-157B9A0B9D9F}" dt="2024-07-30T15:40:38.432" v="2880" actId="1076"/>
          <ac:spMkLst>
            <pc:docMk/>
            <pc:sldMk cId="4030298912" sldId="4999"/>
            <ac:spMk id="19" creationId="{CABDBD21-778A-47E8-A6DF-877914454E7E}"/>
          </ac:spMkLst>
        </pc:spChg>
        <pc:spChg chg="mod ord">
          <ac:chgData name="Elgee, Jeffrey (SPAC/PSPC)" userId="e10f0e9c-c03f-4fde-9113-11216b420c44" providerId="ADAL" clId="{0BEA5CCD-CDB7-477E-8756-157B9A0B9D9F}" dt="2024-07-30T15:41:03.263" v="2901" actId="1076"/>
          <ac:spMkLst>
            <pc:docMk/>
            <pc:sldMk cId="4030298912" sldId="4999"/>
            <ac:spMk id="20" creationId="{810D54FB-162C-45B4-B348-CF410ADAB59F}"/>
          </ac:spMkLst>
        </pc:spChg>
        <pc:spChg chg="mod">
          <ac:chgData name="Elgee, Jeffrey (SPAC/PSPC)" userId="e10f0e9c-c03f-4fde-9113-11216b420c44" providerId="ADAL" clId="{0BEA5CCD-CDB7-477E-8756-157B9A0B9D9F}" dt="2024-07-30T14:21:53.801" v="2497" actId="1037"/>
          <ac:spMkLst>
            <pc:docMk/>
            <pc:sldMk cId="4030298912" sldId="4999"/>
            <ac:spMk id="21" creationId="{3A607016-685E-4175-9346-C99771454555}"/>
          </ac:spMkLst>
        </pc:spChg>
        <pc:spChg chg="del">
          <ac:chgData name="Elgee, Jeffrey (SPAC/PSPC)" userId="e10f0e9c-c03f-4fde-9113-11216b420c44" providerId="ADAL" clId="{0BEA5CCD-CDB7-477E-8756-157B9A0B9D9F}" dt="2024-07-30T14:08:52.604" v="2092" actId="478"/>
          <ac:spMkLst>
            <pc:docMk/>
            <pc:sldMk cId="4030298912" sldId="4999"/>
            <ac:spMk id="22" creationId="{D71F2BA6-CB89-42A9-9218-65D8563798BE}"/>
          </ac:spMkLst>
        </pc:spChg>
        <pc:spChg chg="del mod">
          <ac:chgData name="Elgee, Jeffrey (SPAC/PSPC)" userId="e10f0e9c-c03f-4fde-9113-11216b420c44" providerId="ADAL" clId="{0BEA5CCD-CDB7-477E-8756-157B9A0B9D9F}" dt="2024-07-30T14:08:49.083" v="2091" actId="478"/>
          <ac:spMkLst>
            <pc:docMk/>
            <pc:sldMk cId="4030298912" sldId="4999"/>
            <ac:spMk id="23" creationId="{0D76EFF8-BE53-4B83-BCAB-C1B7377E52B1}"/>
          </ac:spMkLst>
        </pc:spChg>
        <pc:spChg chg="del">
          <ac:chgData name="Elgee, Jeffrey (SPAC/PSPC)" userId="e10f0e9c-c03f-4fde-9113-11216b420c44" providerId="ADAL" clId="{0BEA5CCD-CDB7-477E-8756-157B9A0B9D9F}" dt="2024-07-30T14:08:46.059" v="2089" actId="478"/>
          <ac:spMkLst>
            <pc:docMk/>
            <pc:sldMk cId="4030298912" sldId="4999"/>
            <ac:spMk id="24" creationId="{8638DCD9-AC37-4C0D-8608-AD5BCC2447EE}"/>
          </ac:spMkLst>
        </pc:spChg>
        <pc:spChg chg="del">
          <ac:chgData name="Elgee, Jeffrey (SPAC/PSPC)" userId="e10f0e9c-c03f-4fde-9113-11216b420c44" providerId="ADAL" clId="{0BEA5CCD-CDB7-477E-8756-157B9A0B9D9F}" dt="2024-07-30T14:08:55.904" v="2093" actId="478"/>
          <ac:spMkLst>
            <pc:docMk/>
            <pc:sldMk cId="4030298912" sldId="4999"/>
            <ac:spMk id="25" creationId="{09E72399-25C3-492A-BC25-49AA88081B60}"/>
          </ac:spMkLst>
        </pc:spChg>
        <pc:spChg chg="mod">
          <ac:chgData name="Elgee, Jeffrey (SPAC/PSPC)" userId="e10f0e9c-c03f-4fde-9113-11216b420c44" providerId="ADAL" clId="{0BEA5CCD-CDB7-477E-8756-157B9A0B9D9F}" dt="2024-07-30T14:19:51.523" v="2299" actId="1037"/>
          <ac:spMkLst>
            <pc:docMk/>
            <pc:sldMk cId="4030298912" sldId="4999"/>
            <ac:spMk id="26" creationId="{53C27BE4-FFB1-4B70-A642-723DDD4C75A1}"/>
          </ac:spMkLst>
        </pc:spChg>
        <pc:spChg chg="mod">
          <ac:chgData name="Elgee, Jeffrey (SPAC/PSPC)" userId="e10f0e9c-c03f-4fde-9113-11216b420c44" providerId="ADAL" clId="{0BEA5CCD-CDB7-477E-8756-157B9A0B9D9F}" dt="2024-07-30T14:21:45.606" v="2481" actId="1037"/>
          <ac:spMkLst>
            <pc:docMk/>
            <pc:sldMk cId="4030298912" sldId="4999"/>
            <ac:spMk id="27" creationId="{2449FB96-128A-4906-81B1-FC217156D952}"/>
          </ac:spMkLst>
        </pc:spChg>
        <pc:spChg chg="mod">
          <ac:chgData name="Elgee, Jeffrey (SPAC/PSPC)" userId="e10f0e9c-c03f-4fde-9113-11216b420c44" providerId="ADAL" clId="{0BEA5CCD-CDB7-477E-8756-157B9A0B9D9F}" dt="2024-07-30T14:21:35.617" v="2459" actId="1036"/>
          <ac:spMkLst>
            <pc:docMk/>
            <pc:sldMk cId="4030298912" sldId="4999"/>
            <ac:spMk id="28" creationId="{FEBCC0BA-51F1-4927-AAC6-A02C070359D3}"/>
          </ac:spMkLst>
        </pc:spChg>
        <pc:spChg chg="del">
          <ac:chgData name="Elgee, Jeffrey (SPAC/PSPC)" userId="e10f0e9c-c03f-4fde-9113-11216b420c44" providerId="ADAL" clId="{0BEA5CCD-CDB7-477E-8756-157B9A0B9D9F}" dt="2024-07-30T14:08:39.680" v="2088" actId="478"/>
          <ac:spMkLst>
            <pc:docMk/>
            <pc:sldMk cId="4030298912" sldId="4999"/>
            <ac:spMk id="29" creationId="{597BDEF0-6DEE-4C55-B9DC-6F78166D320A}"/>
          </ac:spMkLst>
        </pc:spChg>
        <pc:spChg chg="mod ord">
          <ac:chgData name="Elgee, Jeffrey (SPAC/PSPC)" userId="e10f0e9c-c03f-4fde-9113-11216b420c44" providerId="ADAL" clId="{0BEA5CCD-CDB7-477E-8756-157B9A0B9D9F}" dt="2024-07-30T15:41:10.465" v="2902" actId="1076"/>
          <ac:spMkLst>
            <pc:docMk/>
            <pc:sldMk cId="4030298912" sldId="4999"/>
            <ac:spMk id="30" creationId="{8C74A267-9D7C-49DB-AD0B-BFC32765C326}"/>
          </ac:spMkLst>
        </pc:spChg>
        <pc:spChg chg="del ord">
          <ac:chgData name="Elgee, Jeffrey (SPAC/PSPC)" userId="e10f0e9c-c03f-4fde-9113-11216b420c44" providerId="ADAL" clId="{0BEA5CCD-CDB7-477E-8756-157B9A0B9D9F}" dt="2024-07-30T14:16:09.638" v="2107" actId="478"/>
          <ac:spMkLst>
            <pc:docMk/>
            <pc:sldMk cId="4030298912" sldId="4999"/>
            <ac:spMk id="31" creationId="{D74C0C59-3C42-4FB6-896F-CD15E54AC154}"/>
          </ac:spMkLst>
        </pc:spChg>
        <pc:spChg chg="mod ord">
          <ac:chgData name="Elgee, Jeffrey (SPAC/PSPC)" userId="e10f0e9c-c03f-4fde-9113-11216b420c44" providerId="ADAL" clId="{0BEA5CCD-CDB7-477E-8756-157B9A0B9D9F}" dt="2024-07-30T15:41:13.039" v="2903" actId="1076"/>
          <ac:spMkLst>
            <pc:docMk/>
            <pc:sldMk cId="4030298912" sldId="4999"/>
            <ac:spMk id="32" creationId="{E35E10CF-2936-4ACE-877B-AF6B63FEB5A5}"/>
          </ac:spMkLst>
        </pc:spChg>
        <pc:spChg chg="mod">
          <ac:chgData name="Elgee, Jeffrey (SPAC/PSPC)" userId="e10f0e9c-c03f-4fde-9113-11216b420c44" providerId="ADAL" clId="{0BEA5CCD-CDB7-477E-8756-157B9A0B9D9F}" dt="2024-07-30T14:21:21.687" v="2431" actId="1036"/>
          <ac:spMkLst>
            <pc:docMk/>
            <pc:sldMk cId="4030298912" sldId="4999"/>
            <ac:spMk id="33" creationId="{82E52318-D713-42FD-8888-6E57B1C6E626}"/>
          </ac:spMkLst>
        </pc:spChg>
        <pc:spChg chg="del">
          <ac:chgData name="Elgee, Jeffrey (SPAC/PSPC)" userId="e10f0e9c-c03f-4fde-9113-11216b420c44" providerId="ADAL" clId="{0BEA5CCD-CDB7-477E-8756-157B9A0B9D9F}" dt="2024-07-30T14:08:59.502" v="2094" actId="478"/>
          <ac:spMkLst>
            <pc:docMk/>
            <pc:sldMk cId="4030298912" sldId="4999"/>
            <ac:spMk id="34" creationId="{6223F58F-F1AA-49D0-8AF5-736467AB99EB}"/>
          </ac:spMkLst>
        </pc:spChg>
        <pc:spChg chg="mod">
          <ac:chgData name="Elgee, Jeffrey (SPAC/PSPC)" userId="e10f0e9c-c03f-4fde-9113-11216b420c44" providerId="ADAL" clId="{0BEA5CCD-CDB7-477E-8756-157B9A0B9D9F}" dt="2024-07-30T14:21:15.374" v="2410" actId="1036"/>
          <ac:spMkLst>
            <pc:docMk/>
            <pc:sldMk cId="4030298912" sldId="4999"/>
            <ac:spMk id="35" creationId="{CB389386-6D09-4BE9-B976-156F7A6D46D6}"/>
          </ac:spMkLst>
        </pc:spChg>
        <pc:spChg chg="mod">
          <ac:chgData name="Elgee, Jeffrey (SPAC/PSPC)" userId="e10f0e9c-c03f-4fde-9113-11216b420c44" providerId="ADAL" clId="{0BEA5CCD-CDB7-477E-8756-157B9A0B9D9F}" dt="2024-07-30T14:21:07.745" v="2384" actId="1036"/>
          <ac:spMkLst>
            <pc:docMk/>
            <pc:sldMk cId="4030298912" sldId="4999"/>
            <ac:spMk id="36" creationId="{870C755C-D32F-4A71-8B94-3C7C95F164E2}"/>
          </ac:spMkLst>
        </pc:spChg>
        <pc:picChg chg="add mod">
          <ac:chgData name="Elgee, Jeffrey (SPAC/PSPC)" userId="e10f0e9c-c03f-4fde-9113-11216b420c44" providerId="ADAL" clId="{0BEA5CCD-CDB7-477E-8756-157B9A0B9D9F}" dt="2024-07-31T15:23:59.979" v="4111" actId="1076"/>
          <ac:picMkLst>
            <pc:docMk/>
            <pc:sldMk cId="4030298912" sldId="4999"/>
            <ac:picMk id="3" creationId="{AA1A692D-4596-ED64-7D61-A5AC09F43301}"/>
          </ac:picMkLst>
        </pc:picChg>
      </pc:sldChg>
      <pc:sldChg chg="addSp modSp add mod ord modNotesTx">
        <pc:chgData name="Elgee, Jeffrey (SPAC/PSPC)" userId="e10f0e9c-c03f-4fde-9113-11216b420c44" providerId="ADAL" clId="{0BEA5CCD-CDB7-477E-8756-157B9A0B9D9F}" dt="2024-08-15T14:02:09.722" v="5005" actId="20577"/>
        <pc:sldMkLst>
          <pc:docMk/>
          <pc:sldMk cId="257696756" sldId="5009"/>
        </pc:sldMkLst>
        <pc:spChg chg="add mod">
          <ac:chgData name="Elgee, Jeffrey (SPAC/PSPC)" userId="e10f0e9c-c03f-4fde-9113-11216b420c44" providerId="ADAL" clId="{0BEA5CCD-CDB7-477E-8756-157B9A0B9D9F}" dt="2024-07-30T15:28:14.971" v="2856" actId="1076"/>
          <ac:spMkLst>
            <pc:docMk/>
            <pc:sldMk cId="257696756" sldId="5009"/>
            <ac:spMk id="3" creationId="{38FBB42E-0A88-5259-7591-B445908E494B}"/>
          </ac:spMkLst>
        </pc:spChg>
        <pc:picChg chg="add mod">
          <ac:chgData name="Elgee, Jeffrey (SPAC/PSPC)" userId="e10f0e9c-c03f-4fde-9113-11216b420c44" providerId="ADAL" clId="{0BEA5CCD-CDB7-477E-8756-157B9A0B9D9F}" dt="2024-07-30T15:28:14.971" v="2856" actId="1076"/>
          <ac:picMkLst>
            <pc:docMk/>
            <pc:sldMk cId="257696756" sldId="5009"/>
            <ac:picMk id="4" creationId="{B2230588-7505-AFC5-92FA-9B417C45450D}"/>
          </ac:picMkLst>
        </pc:picChg>
      </pc:sldChg>
      <pc:sldChg chg="addSp modSp new mod ord modShow">
        <pc:chgData name="Elgee, Jeffrey (SPAC/PSPC)" userId="e10f0e9c-c03f-4fde-9113-11216b420c44" providerId="ADAL" clId="{0BEA5CCD-CDB7-477E-8756-157B9A0B9D9F}" dt="2024-08-15T14:05:11.950" v="5026" actId="20577"/>
        <pc:sldMkLst>
          <pc:docMk/>
          <pc:sldMk cId="1650686714" sldId="5010"/>
        </pc:sldMkLst>
        <pc:spChg chg="mod">
          <ac:chgData name="Elgee, Jeffrey (SPAC/PSPC)" userId="e10f0e9c-c03f-4fde-9113-11216b420c44" providerId="ADAL" clId="{0BEA5CCD-CDB7-477E-8756-157B9A0B9D9F}" dt="2024-07-30T15:18:40.471" v="2705" actId="20577"/>
          <ac:spMkLst>
            <pc:docMk/>
            <pc:sldMk cId="1650686714" sldId="5010"/>
            <ac:spMk id="2" creationId="{A0732E3F-0C57-7047-63C6-D6AD5EBDE382}"/>
          </ac:spMkLst>
        </pc:spChg>
        <pc:spChg chg="add mod">
          <ac:chgData name="Elgee, Jeffrey (SPAC/PSPC)" userId="e10f0e9c-c03f-4fde-9113-11216b420c44" providerId="ADAL" clId="{0BEA5CCD-CDB7-477E-8756-157B9A0B9D9F}" dt="2024-07-30T15:23:00.847" v="2796" actId="207"/>
          <ac:spMkLst>
            <pc:docMk/>
            <pc:sldMk cId="1650686714" sldId="5010"/>
            <ac:spMk id="3" creationId="{F7F9C321-5045-FC17-DD16-3AF5F6E5AAB2}"/>
          </ac:spMkLst>
        </pc:spChg>
        <pc:spChg chg="add mod">
          <ac:chgData name="Elgee, Jeffrey (SPAC/PSPC)" userId="e10f0e9c-c03f-4fde-9113-11216b420c44" providerId="ADAL" clId="{0BEA5CCD-CDB7-477E-8756-157B9A0B9D9F}" dt="2024-07-30T15:18:53.705" v="2719" actId="1036"/>
          <ac:spMkLst>
            <pc:docMk/>
            <pc:sldMk cId="1650686714" sldId="5010"/>
            <ac:spMk id="4" creationId="{FB4D97CD-4E3A-8D73-6C78-0E130C8F9229}"/>
          </ac:spMkLst>
        </pc:spChg>
        <pc:spChg chg="add mod">
          <ac:chgData name="Elgee, Jeffrey (SPAC/PSPC)" userId="e10f0e9c-c03f-4fde-9113-11216b420c44" providerId="ADAL" clId="{0BEA5CCD-CDB7-477E-8756-157B9A0B9D9F}" dt="2024-07-30T15:21:16.165" v="2795" actId="20577"/>
          <ac:spMkLst>
            <pc:docMk/>
            <pc:sldMk cId="1650686714" sldId="5010"/>
            <ac:spMk id="5" creationId="{35521651-F690-5D7A-EC35-650FCBE5BE26}"/>
          </ac:spMkLst>
        </pc:spChg>
        <pc:spChg chg="add mod">
          <ac:chgData name="Elgee, Jeffrey (SPAC/PSPC)" userId="e10f0e9c-c03f-4fde-9113-11216b420c44" providerId="ADAL" clId="{0BEA5CCD-CDB7-477E-8756-157B9A0B9D9F}" dt="2024-07-30T15:18:10.405" v="2599" actId="14100"/>
          <ac:spMkLst>
            <pc:docMk/>
            <pc:sldMk cId="1650686714" sldId="5010"/>
            <ac:spMk id="6" creationId="{D2E6727D-6C14-1EB8-AA24-DDFF078476B3}"/>
          </ac:spMkLst>
        </pc:spChg>
        <pc:spChg chg="add mod">
          <ac:chgData name="Elgee, Jeffrey (SPAC/PSPC)" userId="e10f0e9c-c03f-4fde-9113-11216b420c44" providerId="ADAL" clId="{0BEA5CCD-CDB7-477E-8756-157B9A0B9D9F}" dt="2024-07-30T15:23:50.563" v="2842" actId="20577"/>
          <ac:spMkLst>
            <pc:docMk/>
            <pc:sldMk cId="1650686714" sldId="5010"/>
            <ac:spMk id="7" creationId="{8863DCB0-B132-7181-30DE-FAD1B0C0DDF6}"/>
          </ac:spMkLst>
        </pc:spChg>
        <pc:spChg chg="add mod">
          <ac:chgData name="Elgee, Jeffrey (SPAC/PSPC)" userId="e10f0e9c-c03f-4fde-9113-11216b420c44" providerId="ADAL" clId="{0BEA5CCD-CDB7-477E-8756-157B9A0B9D9F}" dt="2024-07-30T15:18:10.405" v="2599" actId="14100"/>
          <ac:spMkLst>
            <pc:docMk/>
            <pc:sldMk cId="1650686714" sldId="5010"/>
            <ac:spMk id="8" creationId="{947E9467-6EE6-FBB6-D209-9337B224B714}"/>
          </ac:spMkLst>
        </pc:spChg>
        <pc:spChg chg="add mod">
          <ac:chgData name="Elgee, Jeffrey (SPAC/PSPC)" userId="e10f0e9c-c03f-4fde-9113-11216b420c44" providerId="ADAL" clId="{0BEA5CCD-CDB7-477E-8756-157B9A0B9D9F}" dt="2024-08-15T14:05:11.950" v="5026" actId="20577"/>
          <ac:spMkLst>
            <pc:docMk/>
            <pc:sldMk cId="1650686714" sldId="5010"/>
            <ac:spMk id="9" creationId="{9FB2266D-787A-60E8-67B4-EC9D1650C40D}"/>
          </ac:spMkLst>
        </pc:spChg>
        <pc:spChg chg="add mod">
          <ac:chgData name="Elgee, Jeffrey (SPAC/PSPC)" userId="e10f0e9c-c03f-4fde-9113-11216b420c44" providerId="ADAL" clId="{0BEA5CCD-CDB7-477E-8756-157B9A0B9D9F}" dt="2024-07-30T15:18:10.405" v="2599" actId="14100"/>
          <ac:spMkLst>
            <pc:docMk/>
            <pc:sldMk cId="1650686714" sldId="5010"/>
            <ac:spMk id="10" creationId="{FFCF80D2-D173-6A12-3CB2-EEFA7D2F0280}"/>
          </ac:spMkLst>
        </pc:spChg>
        <pc:spChg chg="add mod">
          <ac:chgData name="Elgee, Jeffrey (SPAC/PSPC)" userId="e10f0e9c-c03f-4fde-9113-11216b420c44" providerId="ADAL" clId="{0BEA5CCD-CDB7-477E-8756-157B9A0B9D9F}" dt="2024-07-30T15:28:29.850" v="2857" actId="1076"/>
          <ac:spMkLst>
            <pc:docMk/>
            <pc:sldMk cId="1650686714" sldId="5010"/>
            <ac:spMk id="11" creationId="{417F5558-6A6D-C548-65F5-FB74BF755ABF}"/>
          </ac:spMkLst>
        </pc:spChg>
        <pc:picChg chg="add mod">
          <ac:chgData name="Elgee, Jeffrey (SPAC/PSPC)" userId="e10f0e9c-c03f-4fde-9113-11216b420c44" providerId="ADAL" clId="{0BEA5CCD-CDB7-477E-8756-157B9A0B9D9F}" dt="2024-07-30T15:28:29.850" v="2857" actId="1076"/>
          <ac:picMkLst>
            <pc:docMk/>
            <pc:sldMk cId="1650686714" sldId="5010"/>
            <ac:picMk id="12" creationId="{39BF9B54-2D0E-BCC0-327A-27BBE9DEF27F}"/>
          </ac:picMkLst>
        </pc:picChg>
      </pc:sldChg>
      <pc:sldChg chg="modSp add mod ord">
        <pc:chgData name="Elgee, Jeffrey (SPAC/PSPC)" userId="e10f0e9c-c03f-4fde-9113-11216b420c44" providerId="ADAL" clId="{0BEA5CCD-CDB7-477E-8756-157B9A0B9D9F}" dt="2024-08-15T14:30:11.852" v="5608" actId="20577"/>
        <pc:sldMkLst>
          <pc:docMk/>
          <pc:sldMk cId="2100399840" sldId="5011"/>
        </pc:sldMkLst>
        <pc:spChg chg="mod">
          <ac:chgData name="Elgee, Jeffrey (SPAC/PSPC)" userId="e10f0e9c-c03f-4fde-9113-11216b420c44" providerId="ADAL" clId="{0BEA5CCD-CDB7-477E-8756-157B9A0B9D9F}" dt="2024-08-15T14:30:11.852" v="5608" actId="20577"/>
          <ac:spMkLst>
            <pc:docMk/>
            <pc:sldMk cId="2100399840" sldId="5011"/>
            <ac:spMk id="3" creationId="{63853EAE-6C40-7F6A-CD9C-4F90675A3F9D}"/>
          </ac:spMkLst>
        </pc:spChg>
      </pc:sldChg>
      <pc:sldChg chg="addSp delSp modSp add mod">
        <pc:chgData name="Elgee, Jeffrey (SPAC/PSPC)" userId="e10f0e9c-c03f-4fde-9113-11216b420c44" providerId="ADAL" clId="{0BEA5CCD-CDB7-477E-8756-157B9A0B9D9F}" dt="2024-08-14T16:10:38.448" v="4747" actId="20577"/>
        <pc:sldMkLst>
          <pc:docMk/>
          <pc:sldMk cId="2933910877" sldId="5014"/>
        </pc:sldMkLst>
        <pc:spChg chg="mod">
          <ac:chgData name="Elgee, Jeffrey (SPAC/PSPC)" userId="e10f0e9c-c03f-4fde-9113-11216b420c44" providerId="ADAL" clId="{0BEA5CCD-CDB7-477E-8756-157B9A0B9D9F}" dt="2024-08-14T16:10:38.448" v="4747" actId="20577"/>
          <ac:spMkLst>
            <pc:docMk/>
            <pc:sldMk cId="2933910877" sldId="5014"/>
            <ac:spMk id="2" creationId="{21B46FA5-33EE-8DB6-0B99-423F3FBF7201}"/>
          </ac:spMkLst>
        </pc:spChg>
        <pc:spChg chg="del">
          <ac:chgData name="Elgee, Jeffrey (SPAC/PSPC)" userId="e10f0e9c-c03f-4fde-9113-11216b420c44" providerId="ADAL" clId="{0BEA5CCD-CDB7-477E-8756-157B9A0B9D9F}" dt="2024-07-30T15:58:11.920" v="2907" actId="478"/>
          <ac:spMkLst>
            <pc:docMk/>
            <pc:sldMk cId="2933910877" sldId="5014"/>
            <ac:spMk id="3" creationId="{986FC7D4-5DD4-53C0-5A66-A818D0495E96}"/>
          </ac:spMkLst>
        </pc:spChg>
        <pc:spChg chg="add mod">
          <ac:chgData name="Elgee, Jeffrey (SPAC/PSPC)" userId="e10f0e9c-c03f-4fde-9113-11216b420c44" providerId="ADAL" clId="{0BEA5CCD-CDB7-477E-8756-157B9A0B9D9F}" dt="2024-07-30T16:01:59.585" v="2920"/>
          <ac:spMkLst>
            <pc:docMk/>
            <pc:sldMk cId="2933910877" sldId="5014"/>
            <ac:spMk id="7" creationId="{C9755748-E5F8-6A3B-3C2D-E9F7BB95B5E0}"/>
          </ac:spMkLst>
        </pc:spChg>
        <pc:picChg chg="add mod">
          <ac:chgData name="Elgee, Jeffrey (SPAC/PSPC)" userId="e10f0e9c-c03f-4fde-9113-11216b420c44" providerId="ADAL" clId="{0BEA5CCD-CDB7-477E-8756-157B9A0B9D9F}" dt="2024-07-31T17:51:44.754" v="4664" actId="1582"/>
          <ac:picMkLst>
            <pc:docMk/>
            <pc:sldMk cId="2933910877" sldId="5014"/>
            <ac:picMk id="6" creationId="{73E301A0-28F5-289B-F8E1-65C8C76861F8}"/>
          </ac:picMkLst>
        </pc:picChg>
        <pc:picChg chg="add mod">
          <ac:chgData name="Elgee, Jeffrey (SPAC/PSPC)" userId="e10f0e9c-c03f-4fde-9113-11216b420c44" providerId="ADAL" clId="{0BEA5CCD-CDB7-477E-8756-157B9A0B9D9F}" dt="2024-07-30T16:01:59.585" v="2920"/>
          <ac:picMkLst>
            <pc:docMk/>
            <pc:sldMk cId="2933910877" sldId="5014"/>
            <ac:picMk id="8" creationId="{A4DE673F-0F75-E950-DE66-BB5C94B93C9D}"/>
          </ac:picMkLst>
        </pc:picChg>
      </pc:sldChg>
      <pc:sldChg chg="addSp modSp new mod">
        <pc:chgData name="Elgee, Jeffrey (SPAC/PSPC)" userId="e10f0e9c-c03f-4fde-9113-11216b420c44" providerId="ADAL" clId="{0BEA5CCD-CDB7-477E-8756-157B9A0B9D9F}" dt="2024-07-31T15:47:05.208" v="4355" actId="20577"/>
        <pc:sldMkLst>
          <pc:docMk/>
          <pc:sldMk cId="2477317699" sldId="5015"/>
        </pc:sldMkLst>
        <pc:spChg chg="mod">
          <ac:chgData name="Elgee, Jeffrey (SPAC/PSPC)" userId="e10f0e9c-c03f-4fde-9113-11216b420c44" providerId="ADAL" clId="{0BEA5CCD-CDB7-477E-8756-157B9A0B9D9F}" dt="2024-07-31T15:27:47.338" v="4116" actId="20577"/>
          <ac:spMkLst>
            <pc:docMk/>
            <pc:sldMk cId="2477317699" sldId="5015"/>
            <ac:spMk id="2" creationId="{BFB23011-587B-85D6-1A9A-EF70D4AD5CD6}"/>
          </ac:spMkLst>
        </pc:spChg>
        <pc:spChg chg="add mod">
          <ac:chgData name="Elgee, Jeffrey (SPAC/PSPC)" userId="e10f0e9c-c03f-4fde-9113-11216b420c44" providerId="ADAL" clId="{0BEA5CCD-CDB7-477E-8756-157B9A0B9D9F}" dt="2024-07-31T15:47:05.208" v="4355" actId="20577"/>
          <ac:spMkLst>
            <pc:docMk/>
            <pc:sldMk cId="2477317699" sldId="5015"/>
            <ac:spMk id="4" creationId="{1083FE17-07AC-C668-5DC4-F549190469EF}"/>
          </ac:spMkLst>
        </pc:spChg>
        <pc:picChg chg="add mod">
          <ac:chgData name="Elgee, Jeffrey (SPAC/PSPC)" userId="e10f0e9c-c03f-4fde-9113-11216b420c44" providerId="ADAL" clId="{0BEA5CCD-CDB7-477E-8756-157B9A0B9D9F}" dt="2024-07-31T15:24:03.854" v="4112"/>
          <ac:picMkLst>
            <pc:docMk/>
            <pc:sldMk cId="2477317699" sldId="5015"/>
            <ac:picMk id="3" creationId="{0384E7DA-6668-0975-6D14-D5C196E57208}"/>
          </ac:picMkLst>
        </pc:picChg>
      </pc:sldChg>
      <pc:sldChg chg="addSp modSp new mod">
        <pc:chgData name="Elgee, Jeffrey (SPAC/PSPC)" userId="e10f0e9c-c03f-4fde-9113-11216b420c44" providerId="ADAL" clId="{0BEA5CCD-CDB7-477E-8756-157B9A0B9D9F}" dt="2024-07-31T15:50:02.085" v="4384" actId="1076"/>
        <pc:sldMkLst>
          <pc:docMk/>
          <pc:sldMk cId="2051072428" sldId="5016"/>
        </pc:sldMkLst>
        <pc:spChg chg="mod">
          <ac:chgData name="Elgee, Jeffrey (SPAC/PSPC)" userId="e10f0e9c-c03f-4fde-9113-11216b420c44" providerId="ADAL" clId="{0BEA5CCD-CDB7-477E-8756-157B9A0B9D9F}" dt="2024-07-31T15:48:25.230" v="4370" actId="20577"/>
          <ac:spMkLst>
            <pc:docMk/>
            <pc:sldMk cId="2051072428" sldId="5016"/>
            <ac:spMk id="2" creationId="{29358890-DCDA-9D45-525E-E4C2B988FD8B}"/>
          </ac:spMkLst>
        </pc:spChg>
        <pc:spChg chg="add mod">
          <ac:chgData name="Elgee, Jeffrey (SPAC/PSPC)" userId="e10f0e9c-c03f-4fde-9113-11216b420c44" providerId="ADAL" clId="{0BEA5CCD-CDB7-477E-8756-157B9A0B9D9F}" dt="2024-07-31T15:50:02.085" v="4384" actId="1076"/>
          <ac:spMkLst>
            <pc:docMk/>
            <pc:sldMk cId="2051072428" sldId="5016"/>
            <ac:spMk id="3" creationId="{4C52D337-9957-7B5D-DAF2-8D9B3842762F}"/>
          </ac:spMkLst>
        </pc:spChg>
        <pc:picChg chg="add mod">
          <ac:chgData name="Elgee, Jeffrey (SPAC/PSPC)" userId="e10f0e9c-c03f-4fde-9113-11216b420c44" providerId="ADAL" clId="{0BEA5CCD-CDB7-477E-8756-157B9A0B9D9F}" dt="2024-07-31T15:50:02.085" v="4384" actId="1076"/>
          <ac:picMkLst>
            <pc:docMk/>
            <pc:sldMk cId="2051072428" sldId="5016"/>
            <ac:picMk id="4" creationId="{9FE4EB6B-0C85-9D55-5132-B101EF04B0B1}"/>
          </ac:picMkLst>
        </pc:picChg>
      </pc:sldChg>
      <pc:sldChg chg="addSp modSp new mod">
        <pc:chgData name="Elgee, Jeffrey (SPAC/PSPC)" userId="e10f0e9c-c03f-4fde-9113-11216b420c44" providerId="ADAL" clId="{0BEA5CCD-CDB7-477E-8756-157B9A0B9D9F}" dt="2024-07-31T15:49:45.046" v="4381" actId="1076"/>
        <pc:sldMkLst>
          <pc:docMk/>
          <pc:sldMk cId="1454300061" sldId="5017"/>
        </pc:sldMkLst>
        <pc:spChg chg="mod">
          <ac:chgData name="Elgee, Jeffrey (SPAC/PSPC)" userId="e10f0e9c-c03f-4fde-9113-11216b420c44" providerId="ADAL" clId="{0BEA5CCD-CDB7-477E-8756-157B9A0B9D9F}" dt="2024-07-31T15:49:12.227" v="4378" actId="27636"/>
          <ac:spMkLst>
            <pc:docMk/>
            <pc:sldMk cId="1454300061" sldId="5017"/>
            <ac:spMk id="2" creationId="{809BB165-F809-F512-45EE-DEDC326A44D0}"/>
          </ac:spMkLst>
        </pc:spChg>
        <pc:spChg chg="add mod">
          <ac:chgData name="Elgee, Jeffrey (SPAC/PSPC)" userId="e10f0e9c-c03f-4fde-9113-11216b420c44" providerId="ADAL" clId="{0BEA5CCD-CDB7-477E-8756-157B9A0B9D9F}" dt="2024-07-31T15:49:45.046" v="4381" actId="1076"/>
          <ac:spMkLst>
            <pc:docMk/>
            <pc:sldMk cId="1454300061" sldId="5017"/>
            <ac:spMk id="3" creationId="{C4383844-C3CE-4A62-F026-36673844724E}"/>
          </ac:spMkLst>
        </pc:spChg>
        <pc:picChg chg="add mod">
          <ac:chgData name="Elgee, Jeffrey (SPAC/PSPC)" userId="e10f0e9c-c03f-4fde-9113-11216b420c44" providerId="ADAL" clId="{0BEA5CCD-CDB7-477E-8756-157B9A0B9D9F}" dt="2024-07-31T15:49:45.046" v="4381" actId="1076"/>
          <ac:picMkLst>
            <pc:docMk/>
            <pc:sldMk cId="1454300061" sldId="5017"/>
            <ac:picMk id="4" creationId="{6A730090-4B8F-D4CA-C97A-CB9754119373}"/>
          </ac:picMkLst>
        </pc:picChg>
      </pc:sldChg>
      <pc:sldChg chg="addSp delSp modSp new mod">
        <pc:chgData name="Elgee, Jeffrey (SPAC/PSPC)" userId="e10f0e9c-c03f-4fde-9113-11216b420c44" providerId="ADAL" clId="{0BEA5CCD-CDB7-477E-8756-157B9A0B9D9F}" dt="2024-07-31T15:54:42.766" v="4471" actId="1076"/>
        <pc:sldMkLst>
          <pc:docMk/>
          <pc:sldMk cId="3259092804" sldId="5018"/>
        </pc:sldMkLst>
        <pc:spChg chg="mod">
          <ac:chgData name="Elgee, Jeffrey (SPAC/PSPC)" userId="e10f0e9c-c03f-4fde-9113-11216b420c44" providerId="ADAL" clId="{0BEA5CCD-CDB7-477E-8756-157B9A0B9D9F}" dt="2024-07-31T15:50:49.858" v="4394" actId="27636"/>
          <ac:spMkLst>
            <pc:docMk/>
            <pc:sldMk cId="3259092804" sldId="5018"/>
            <ac:spMk id="2" creationId="{E2E002CE-8EF1-DDFD-24EA-6F2570759FCC}"/>
          </ac:spMkLst>
        </pc:spChg>
        <pc:spChg chg="add mod">
          <ac:chgData name="Elgee, Jeffrey (SPAC/PSPC)" userId="e10f0e9c-c03f-4fde-9113-11216b420c44" providerId="ADAL" clId="{0BEA5CCD-CDB7-477E-8756-157B9A0B9D9F}" dt="2024-07-31T15:54:42.766" v="4471" actId="1076"/>
          <ac:spMkLst>
            <pc:docMk/>
            <pc:sldMk cId="3259092804" sldId="5018"/>
            <ac:spMk id="4" creationId="{C7EEBD97-7B77-8F19-8364-1778CD59EF70}"/>
          </ac:spMkLst>
        </pc:spChg>
        <pc:picChg chg="add del mod">
          <ac:chgData name="Elgee, Jeffrey (SPAC/PSPC)" userId="e10f0e9c-c03f-4fde-9113-11216b420c44" providerId="ADAL" clId="{0BEA5CCD-CDB7-477E-8756-157B9A0B9D9F}" dt="2024-07-31T15:53:48.473" v="4462" actId="478"/>
          <ac:picMkLst>
            <pc:docMk/>
            <pc:sldMk cId="3259092804" sldId="5018"/>
            <ac:picMk id="3" creationId="{FF4A040C-3933-B189-56FE-D8C50A4905D4}"/>
          </ac:picMkLst>
        </pc:picChg>
        <pc:picChg chg="add mod">
          <ac:chgData name="Elgee, Jeffrey (SPAC/PSPC)" userId="e10f0e9c-c03f-4fde-9113-11216b420c44" providerId="ADAL" clId="{0BEA5CCD-CDB7-477E-8756-157B9A0B9D9F}" dt="2024-07-31T15:54:42.766" v="4471" actId="1076"/>
          <ac:picMkLst>
            <pc:docMk/>
            <pc:sldMk cId="3259092804" sldId="5018"/>
            <ac:picMk id="5" creationId="{B19C7101-560E-8F3A-A177-991F841221C1}"/>
          </ac:picMkLst>
        </pc:picChg>
      </pc:sldChg>
      <pc:sldChg chg="addSp delSp modSp new mod">
        <pc:chgData name="Elgee, Jeffrey (SPAC/PSPC)" userId="e10f0e9c-c03f-4fde-9113-11216b420c44" providerId="ADAL" clId="{0BEA5CCD-CDB7-477E-8756-157B9A0B9D9F}" dt="2024-07-31T17:50:44.731" v="4659"/>
        <pc:sldMkLst>
          <pc:docMk/>
          <pc:sldMk cId="3612331858" sldId="5019"/>
        </pc:sldMkLst>
        <pc:spChg chg="mod">
          <ac:chgData name="Elgee, Jeffrey (SPAC/PSPC)" userId="e10f0e9c-c03f-4fde-9113-11216b420c44" providerId="ADAL" clId="{0BEA5CCD-CDB7-477E-8756-157B9A0B9D9F}" dt="2024-07-31T17:18:20.238" v="4525" actId="20577"/>
          <ac:spMkLst>
            <pc:docMk/>
            <pc:sldMk cId="3612331858" sldId="5019"/>
            <ac:spMk id="2" creationId="{DDD1D901-0DB1-131C-ECE7-292E7AEBABBB}"/>
          </ac:spMkLst>
        </pc:spChg>
        <pc:spChg chg="add del mod">
          <ac:chgData name="Elgee, Jeffrey (SPAC/PSPC)" userId="e10f0e9c-c03f-4fde-9113-11216b420c44" providerId="ADAL" clId="{0BEA5CCD-CDB7-477E-8756-157B9A0B9D9F}" dt="2024-07-31T15:54:34.701" v="4469" actId="21"/>
          <ac:spMkLst>
            <pc:docMk/>
            <pc:sldMk cId="3612331858" sldId="5019"/>
            <ac:spMk id="3" creationId="{C7EEBD97-7B77-8F19-8364-1778CD59EF70}"/>
          </ac:spMkLst>
        </pc:spChg>
        <pc:spChg chg="add del mod">
          <ac:chgData name="Elgee, Jeffrey (SPAC/PSPC)" userId="e10f0e9c-c03f-4fde-9113-11216b420c44" providerId="ADAL" clId="{0BEA5CCD-CDB7-477E-8756-157B9A0B9D9F}" dt="2024-07-31T17:20:18.319" v="4533" actId="478"/>
          <ac:spMkLst>
            <pc:docMk/>
            <pc:sldMk cId="3612331858" sldId="5019"/>
            <ac:spMk id="6" creationId="{24CD1446-833A-A09D-A1F4-BCE750A703D9}"/>
          </ac:spMkLst>
        </pc:spChg>
        <pc:spChg chg="add mod">
          <ac:chgData name="Elgee, Jeffrey (SPAC/PSPC)" userId="e10f0e9c-c03f-4fde-9113-11216b420c44" providerId="ADAL" clId="{0BEA5CCD-CDB7-477E-8756-157B9A0B9D9F}" dt="2024-07-31T17:35:46.498" v="4594" actId="1037"/>
          <ac:spMkLst>
            <pc:docMk/>
            <pc:sldMk cId="3612331858" sldId="5019"/>
            <ac:spMk id="15" creationId="{AD853EB0-D48C-ECE2-9A46-11728F9C378A}"/>
          </ac:spMkLst>
        </pc:spChg>
        <pc:spChg chg="add mod">
          <ac:chgData name="Elgee, Jeffrey (SPAC/PSPC)" userId="e10f0e9c-c03f-4fde-9113-11216b420c44" providerId="ADAL" clId="{0BEA5CCD-CDB7-477E-8756-157B9A0B9D9F}" dt="2024-07-31T17:48:25.857" v="4658" actId="20577"/>
          <ac:spMkLst>
            <pc:docMk/>
            <pc:sldMk cId="3612331858" sldId="5019"/>
            <ac:spMk id="16" creationId="{FA1BB9C4-4EAF-51CE-B1C5-F7681DAF3E8D}"/>
          </ac:spMkLst>
        </pc:spChg>
        <pc:spChg chg="add mod">
          <ac:chgData name="Elgee, Jeffrey (SPAC/PSPC)" userId="e10f0e9c-c03f-4fde-9113-11216b420c44" providerId="ADAL" clId="{0BEA5CCD-CDB7-477E-8756-157B9A0B9D9F}" dt="2024-07-31T17:38:35.726" v="4607"/>
          <ac:spMkLst>
            <pc:docMk/>
            <pc:sldMk cId="3612331858" sldId="5019"/>
            <ac:spMk id="17" creationId="{985AD11C-EACE-0954-BAFE-2AB525EA7F02}"/>
          </ac:spMkLst>
        </pc:spChg>
        <pc:spChg chg="add mod">
          <ac:chgData name="Elgee, Jeffrey (SPAC/PSPC)" userId="e10f0e9c-c03f-4fde-9113-11216b420c44" providerId="ADAL" clId="{0BEA5CCD-CDB7-477E-8756-157B9A0B9D9F}" dt="2024-07-31T17:50:44.731" v="4659"/>
          <ac:spMkLst>
            <pc:docMk/>
            <pc:sldMk cId="3612331858" sldId="5019"/>
            <ac:spMk id="18" creationId="{D296AB4F-0004-63D1-CF54-E59BC1F61888}"/>
          </ac:spMkLst>
        </pc:spChg>
        <pc:picChg chg="add del mod">
          <ac:chgData name="Elgee, Jeffrey (SPAC/PSPC)" userId="e10f0e9c-c03f-4fde-9113-11216b420c44" providerId="ADAL" clId="{0BEA5CCD-CDB7-477E-8756-157B9A0B9D9F}" dt="2024-07-31T15:54:34.701" v="4469" actId="21"/>
          <ac:picMkLst>
            <pc:docMk/>
            <pc:sldMk cId="3612331858" sldId="5019"/>
            <ac:picMk id="4" creationId="{B19C7101-560E-8F3A-A177-991F841221C1}"/>
          </ac:picMkLst>
        </pc:picChg>
        <pc:picChg chg="add mod modCrop">
          <ac:chgData name="Elgee, Jeffrey (SPAC/PSPC)" userId="e10f0e9c-c03f-4fde-9113-11216b420c44" providerId="ADAL" clId="{0BEA5CCD-CDB7-477E-8756-157B9A0B9D9F}" dt="2024-07-31T17:35:12.299" v="4587" actId="14100"/>
          <ac:picMkLst>
            <pc:docMk/>
            <pc:sldMk cId="3612331858" sldId="5019"/>
            <ac:picMk id="8" creationId="{00B0DCEB-332D-D864-B612-8EF23D54354C}"/>
          </ac:picMkLst>
        </pc:picChg>
        <pc:picChg chg="add del mod">
          <ac:chgData name="Elgee, Jeffrey (SPAC/PSPC)" userId="e10f0e9c-c03f-4fde-9113-11216b420c44" providerId="ADAL" clId="{0BEA5CCD-CDB7-477E-8756-157B9A0B9D9F}" dt="2024-07-31T17:25:16.838" v="4545" actId="478"/>
          <ac:picMkLst>
            <pc:docMk/>
            <pc:sldMk cId="3612331858" sldId="5019"/>
            <ac:picMk id="10" creationId="{1527F508-F0B7-1F3D-3539-057B0679932D}"/>
          </ac:picMkLst>
        </pc:picChg>
        <pc:picChg chg="add mod modCrop">
          <ac:chgData name="Elgee, Jeffrey (SPAC/PSPC)" userId="e10f0e9c-c03f-4fde-9113-11216b420c44" providerId="ADAL" clId="{0BEA5CCD-CDB7-477E-8756-157B9A0B9D9F}" dt="2024-07-31T17:35:12.299" v="4587" actId="14100"/>
          <ac:picMkLst>
            <pc:docMk/>
            <pc:sldMk cId="3612331858" sldId="5019"/>
            <ac:picMk id="12" creationId="{B0FCE7AE-72B6-CEFE-DD8D-C07C28CE4C2F}"/>
          </ac:picMkLst>
        </pc:picChg>
        <pc:picChg chg="add mod modCrop">
          <ac:chgData name="Elgee, Jeffrey (SPAC/PSPC)" userId="e10f0e9c-c03f-4fde-9113-11216b420c44" providerId="ADAL" clId="{0BEA5CCD-CDB7-477E-8756-157B9A0B9D9F}" dt="2024-07-31T17:35:12.299" v="4587" actId="14100"/>
          <ac:picMkLst>
            <pc:docMk/>
            <pc:sldMk cId="3612331858" sldId="5019"/>
            <ac:picMk id="14" creationId="{F079DD7F-D555-9B47-8D27-23BB97094725}"/>
          </ac:picMkLst>
        </pc:picChg>
        <pc:picChg chg="add mod">
          <ac:chgData name="Elgee, Jeffrey (SPAC/PSPC)" userId="e10f0e9c-c03f-4fde-9113-11216b420c44" providerId="ADAL" clId="{0BEA5CCD-CDB7-477E-8756-157B9A0B9D9F}" dt="2024-07-31T17:50:44.731" v="4659"/>
          <ac:picMkLst>
            <pc:docMk/>
            <pc:sldMk cId="3612331858" sldId="5019"/>
            <ac:picMk id="19" creationId="{9E1A70AF-5D8C-1C8A-852B-537BBDCFE6A5}"/>
          </ac:picMkLst>
        </pc:picChg>
      </pc:sldChg>
      <pc:sldMasterChg chg="delSp mod">
        <pc:chgData name="Elgee, Jeffrey (SPAC/PSPC)" userId="e10f0e9c-c03f-4fde-9113-11216b420c44" providerId="ADAL" clId="{0BEA5CCD-CDB7-477E-8756-157B9A0B9D9F}" dt="2024-07-30T13:34:41.969" v="1962" actId="478"/>
        <pc:sldMasterMkLst>
          <pc:docMk/>
          <pc:sldMasterMk cId="792885655" sldId="2147483675"/>
        </pc:sldMasterMkLst>
        <pc:picChg chg="del">
          <ac:chgData name="Elgee, Jeffrey (SPAC/PSPC)" userId="e10f0e9c-c03f-4fde-9113-11216b420c44" providerId="ADAL" clId="{0BEA5CCD-CDB7-477E-8756-157B9A0B9D9F}" dt="2024-07-30T13:34:41.969" v="1962" actId="478"/>
          <ac:picMkLst>
            <pc:docMk/>
            <pc:sldMasterMk cId="792885655" sldId="2147483675"/>
            <ac:picMk id="12" creationId="{00000000-0000-0000-0000-000000000000}"/>
          </ac:picMkLst>
        </pc:pic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661123774001927E-2"/>
          <c:y val="9.2839053838314062E-2"/>
          <c:w val="0.89827747271722613"/>
          <c:h val="0.3991073296164363"/>
        </c:manualLayout>
      </c:layout>
      <c:barChart>
        <c:barDir val="col"/>
        <c:grouping val="clustered"/>
        <c:varyColors val="0"/>
        <c:ser>
          <c:idx val="0"/>
          <c:order val="0"/>
          <c:tx>
            <c:strRef>
              <c:f>Sheet1!$B$1</c:f>
              <c:strCache>
                <c:ptCount val="1"/>
                <c:pt idx="0">
                  <c:v>Messages organisationnels</c:v>
                </c:pt>
              </c:strCache>
            </c:strRef>
          </c:tx>
          <c:spPr>
            <a:solidFill>
              <a:srgbClr val="81BABD"/>
            </a:solidFill>
            <a:ln>
              <a:no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DG/Président</c:v>
                </c:pt>
                <c:pt idx="1">
                  <c:v>Directeur général</c:v>
                </c:pt>
                <c:pt idx="2">
                  <c:v>Directeur</c:v>
                </c:pt>
                <c:pt idx="3">
                  <c:v>Responsable de service</c:v>
                </c:pt>
                <c:pt idx="4">
                  <c:v>Le responsable direct de l’employé</c:v>
                </c:pt>
                <c:pt idx="5">
                  <c:v>Spécialiste de la communication</c:v>
                </c:pt>
                <c:pt idx="6">
                  <c:v>Représentant des ressources humaines</c:v>
                </c:pt>
                <c:pt idx="7">
                  <c:v>Membre de l’équipe de projet</c:v>
                </c:pt>
                <c:pt idx="8">
                  <c:v>Chef de l’équipe de projet</c:v>
                </c:pt>
                <c:pt idx="9">
                  <c:v>Membre de l’équipe de gestion du changement</c:v>
                </c:pt>
                <c:pt idx="10">
                  <c:v>Chef de l’équipe de gestion du changement</c:v>
                </c:pt>
                <c:pt idx="11">
                  <c:v>Autre</c:v>
                </c:pt>
              </c:strCache>
            </c:strRef>
          </c:cat>
          <c:val>
            <c:numRef>
              <c:f>Sheet1!$B$2:$B$13</c:f>
              <c:numCache>
                <c:formatCode>0%</c:formatCode>
                <c:ptCount val="12"/>
                <c:pt idx="0">
                  <c:v>0.37</c:v>
                </c:pt>
                <c:pt idx="1">
                  <c:v>0.24</c:v>
                </c:pt>
                <c:pt idx="2">
                  <c:v>0.1</c:v>
                </c:pt>
                <c:pt idx="3">
                  <c:v>0.1</c:v>
                </c:pt>
                <c:pt idx="4">
                  <c:v>0.03</c:v>
                </c:pt>
                <c:pt idx="5">
                  <c:v>0.02</c:v>
                </c:pt>
                <c:pt idx="6">
                  <c:v>0.01</c:v>
                </c:pt>
                <c:pt idx="7">
                  <c:v>0.05</c:v>
                </c:pt>
                <c:pt idx="8">
                  <c:v>0.05</c:v>
                </c:pt>
                <c:pt idx="9">
                  <c:v>0.01</c:v>
                </c:pt>
                <c:pt idx="10">
                  <c:v>0.05</c:v>
                </c:pt>
                <c:pt idx="11">
                  <c:v>0.01</c:v>
                </c:pt>
              </c:numCache>
            </c:numRef>
          </c:val>
          <c:extLst>
            <c:ext xmlns:c16="http://schemas.microsoft.com/office/drawing/2014/chart" uri="{C3380CC4-5D6E-409C-BE32-E72D297353CC}">
              <c16:uniqueId val="{00000000-C82E-433D-9322-105BE3EFF162}"/>
            </c:ext>
          </c:extLst>
        </c:ser>
        <c:ser>
          <c:idx val="1"/>
          <c:order val="1"/>
          <c:tx>
            <c:strRef>
              <c:f>Sheet1!$C$1</c:f>
              <c:strCache>
                <c:ptCount val="1"/>
                <c:pt idx="0">
                  <c:v>Messages personnels</c:v>
                </c:pt>
              </c:strCache>
            </c:strRef>
          </c:tx>
          <c:spPr>
            <a:pattFill prst="ltHorz">
              <a:fgClr>
                <a:schemeClr val="bg1"/>
              </a:fgClr>
              <a:bgClr>
                <a:srgbClr val="015C66"/>
              </a:bgClr>
            </a:pattFill>
            <a:ln w="12700">
              <a:solidFill>
                <a:srgbClr val="015C66"/>
              </a:solid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DG/Président</c:v>
                </c:pt>
                <c:pt idx="1">
                  <c:v>Directeur général</c:v>
                </c:pt>
                <c:pt idx="2">
                  <c:v>Directeur</c:v>
                </c:pt>
                <c:pt idx="3">
                  <c:v>Responsable de service</c:v>
                </c:pt>
                <c:pt idx="4">
                  <c:v>Le responsable direct de l’employé</c:v>
                </c:pt>
                <c:pt idx="5">
                  <c:v>Spécialiste de la communication</c:v>
                </c:pt>
                <c:pt idx="6">
                  <c:v>Représentant des ressources humaines</c:v>
                </c:pt>
                <c:pt idx="7">
                  <c:v>Membre de l’équipe de projet</c:v>
                </c:pt>
                <c:pt idx="8">
                  <c:v>Chef de l’équipe de projet</c:v>
                </c:pt>
                <c:pt idx="9">
                  <c:v>Membre de l’équipe de gestion du changement</c:v>
                </c:pt>
                <c:pt idx="10">
                  <c:v>Chef de l’équipe de gestion du changement</c:v>
                </c:pt>
                <c:pt idx="11">
                  <c:v>Autre</c:v>
                </c:pt>
              </c:strCache>
            </c:strRef>
          </c:cat>
          <c:val>
            <c:numRef>
              <c:f>Sheet1!$C$2:$C$13</c:f>
              <c:numCache>
                <c:formatCode>0%</c:formatCode>
                <c:ptCount val="12"/>
                <c:pt idx="0">
                  <c:v>0.05</c:v>
                </c:pt>
                <c:pt idx="1">
                  <c:v>0.04</c:v>
                </c:pt>
                <c:pt idx="2">
                  <c:v>0.04</c:v>
                </c:pt>
                <c:pt idx="3">
                  <c:v>0.11</c:v>
                </c:pt>
                <c:pt idx="4">
                  <c:v>0.57999999999999996</c:v>
                </c:pt>
                <c:pt idx="5">
                  <c:v>0.01</c:v>
                </c:pt>
                <c:pt idx="6">
                  <c:v>0.04</c:v>
                </c:pt>
                <c:pt idx="7">
                  <c:v>0.04</c:v>
                </c:pt>
                <c:pt idx="8">
                  <c:v>0.02</c:v>
                </c:pt>
                <c:pt idx="9">
                  <c:v>0.01</c:v>
                </c:pt>
                <c:pt idx="10">
                  <c:v>0.05</c:v>
                </c:pt>
                <c:pt idx="11">
                  <c:v>0.01</c:v>
                </c:pt>
              </c:numCache>
            </c:numRef>
          </c:val>
          <c:extLst>
            <c:ext xmlns:c16="http://schemas.microsoft.com/office/drawing/2014/chart" uri="{C3380CC4-5D6E-409C-BE32-E72D297353CC}">
              <c16:uniqueId val="{00000001-C82E-433D-9322-105BE3EFF162}"/>
            </c:ext>
          </c:extLst>
        </c:ser>
        <c:dLbls>
          <c:showLegendKey val="0"/>
          <c:showVal val="0"/>
          <c:showCatName val="0"/>
          <c:showSerName val="0"/>
          <c:showPercent val="0"/>
          <c:showBubbleSize val="0"/>
        </c:dLbls>
        <c:gapWidth val="77"/>
        <c:overlap val="-17"/>
        <c:axId val="1055029215"/>
        <c:axId val="185484192"/>
      </c:barChart>
      <c:catAx>
        <c:axId val="1055029215"/>
        <c:scaling>
          <c:orientation val="minMax"/>
        </c:scaling>
        <c:delete val="0"/>
        <c:axPos val="b"/>
        <c:numFmt formatCode="General" sourceLinked="1"/>
        <c:majorTickMark val="none"/>
        <c:minorTickMark val="none"/>
        <c:tickLblPos val="nextTo"/>
        <c:spPr>
          <a:noFill/>
          <a:ln w="9525" cap="flat" cmpd="sng" algn="ctr">
            <a:solidFill>
              <a:schemeClr val="accent2">
                <a:lumMod val="40000"/>
                <a:lumOff val="6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5484192"/>
        <c:crosses val="autoZero"/>
        <c:auto val="1"/>
        <c:lblAlgn val="ctr"/>
        <c:lblOffset val="100"/>
        <c:noMultiLvlLbl val="0"/>
      </c:catAx>
      <c:valAx>
        <c:axId val="185484192"/>
        <c:scaling>
          <c:orientation val="minMax"/>
          <c:max val="0.8"/>
        </c:scaling>
        <c:delete val="0"/>
        <c:axPos val="l"/>
        <c:title>
          <c:tx>
            <c:rich>
              <a:bodyPr rot="-5400000" spcFirstLastPara="1" vertOverflow="ellipsis" vert="horz" wrap="square" anchor="ctr" anchorCtr="1"/>
              <a:lstStyle/>
              <a:p>
                <a:pPr>
                  <a:spcAft>
                    <a:spcPts val="1200"/>
                  </a:spcAft>
                  <a:defRPr sz="1330" b="0" i="0" u="none" strike="noStrike" kern="1200" baseline="0">
                    <a:solidFill>
                      <a:schemeClr val="tx1">
                        <a:lumMod val="65000"/>
                        <a:lumOff val="35000"/>
                      </a:schemeClr>
                    </a:solidFill>
                    <a:latin typeface="+mn-lt"/>
                    <a:ea typeface="+mn-ea"/>
                    <a:cs typeface="+mn-cs"/>
                  </a:defRPr>
                </a:pPr>
                <a:r>
                  <a:rPr lang="fr-FR" sz="1400" b="0" i="0" u="none" strike="noStrike" kern="1200" baseline="0" noProof="0" dirty="0">
                    <a:solidFill>
                      <a:schemeClr val="tx1"/>
                    </a:solidFill>
                  </a:rPr>
                  <a:t>Pourcentage de participants</a:t>
                </a:r>
              </a:p>
            </c:rich>
          </c:tx>
          <c:overlay val="0"/>
          <c:spPr>
            <a:noFill/>
            <a:ln>
              <a:noFill/>
            </a:ln>
            <a:effectLst/>
          </c:spPr>
          <c:txPr>
            <a:bodyPr rot="-5400000" spcFirstLastPara="1" vertOverflow="ellipsis" vert="horz" wrap="square" anchor="ctr" anchorCtr="1"/>
            <a:lstStyle/>
            <a:p>
              <a:pPr>
                <a:spcAft>
                  <a:spcPts val="1200"/>
                </a:spcAft>
                <a:defRPr sz="1330" b="0" i="0" u="none" strike="noStrike" kern="1200" baseline="0">
                  <a:solidFill>
                    <a:schemeClr val="tx1">
                      <a:lumMod val="65000"/>
                      <a:lumOff val="35000"/>
                    </a:schemeClr>
                  </a:solidFill>
                  <a:latin typeface="+mn-lt"/>
                  <a:ea typeface="+mn-ea"/>
                  <a:cs typeface="+mn-cs"/>
                </a:defRPr>
              </a:pPr>
              <a:endParaRPr lang="en-US"/>
            </a:p>
          </c:txPr>
        </c:title>
        <c:numFmt formatCode="0\ %" sourceLinked="0"/>
        <c:majorTickMark val="none"/>
        <c:minorTickMark val="none"/>
        <c:tickLblPos val="nextTo"/>
        <c:spPr>
          <a:noFill/>
          <a:ln>
            <a:solidFill>
              <a:schemeClr val="accent2">
                <a:lumMod val="40000"/>
                <a:lumOff val="60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05502921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3/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N°›</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N°›</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rosci.com/blog/clarc-the-role-of-people-managers-in-change-manage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La courbe de changement de Kubler-Ross peut nous aider à mieux comprendre ce que vivent nos employés. Nos réactions face à un changement difficile peuvent passer par une série d'étapes : Déni, Frustration, Dépression, Expérimentation, Décision, Intégration.</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2045809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Gardez à l'esprit qu'il vous faudra passer du temps en tête-à-tête avec vos employés pour naviguer ensemble dans le milieu de travail. </a:t>
            </a:r>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Afin de soutenir correctement vos employés, assurez-vous de participer activement au processus de changement. Examinez les communications relatives au projet, anticipez les problèmes, planifiez la réussite et assistez aux événements et aux séances d'information si possible. </a:t>
            </a:r>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366714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3710770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4229586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2313478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urce : </a:t>
            </a:r>
            <a:r>
              <a:rPr lang="en-CA" dirty="0">
                <a:hlinkClick r:id="rId3"/>
              </a:rPr>
              <a:t>CLARC: The Role of People Managers in Change Management (prosci.com)</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623275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Pourquoi la communication est-elle un élément essentiel de votre rôle dans ce changement? Parce que les employés veulent vous entendre. Pour tout changement organisationnel ayant un impact personnel sur un employé, ce dernier veut en être informé par son gestionnaire.</a:t>
            </a:r>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205455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quez pour modifier le style du titre principal</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Modifier les styles du texte maître</a:t>
            </a:r>
          </a:p>
          <a:p>
            <a:pPr lvl="1"/>
            <a:r>
              <a:rPr lang="en-US" dirty="0"/>
              <a:t>Deuxième niveau</a:t>
            </a:r>
          </a:p>
          <a:p>
            <a:pPr lvl="2"/>
            <a:r>
              <a:rPr lang="en-US" dirty="0"/>
              <a:t>Troisième niveau</a:t>
            </a:r>
          </a:p>
          <a:p>
            <a:pPr lvl="3"/>
            <a:r>
              <a:rPr lang="en-US" dirty="0"/>
              <a:t>Quatrième niveau</a:t>
            </a:r>
          </a:p>
          <a:p>
            <a:pPr lvl="4"/>
            <a:r>
              <a:rPr lang="en-US" dirty="0"/>
              <a:t>Cinquième niveau</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p:blipFill>
        <p:spPr>
          <a:xfrm>
            <a:off x="552450" y="6402628"/>
            <a:ext cx="2036645" cy="195127"/>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1.xml"/><Relationship Id="rId18" Type="http://schemas.openxmlformats.org/officeDocument/2006/relationships/image" Target="../media/image1.emf"/><Relationship Id="rId3" Type="http://schemas.openxmlformats.org/officeDocument/2006/relationships/tags" Target="../tags/tag10.xml"/><Relationship Id="rId21" Type="http://schemas.openxmlformats.org/officeDocument/2006/relationships/image" Target="../media/image2.pn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oleObject" Target="../embeddings/oleObject7.bin"/><Relationship Id="rId2" Type="http://schemas.openxmlformats.org/officeDocument/2006/relationships/tags" Target="../tags/tag9.xml"/><Relationship Id="rId16" Type="http://schemas.openxmlformats.org/officeDocument/2006/relationships/image" Target="../media/image5.jpg"/><Relationship Id="rId2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7.png"/><Relationship Id="rId5" Type="http://schemas.openxmlformats.org/officeDocument/2006/relationships/tags" Target="../tags/tag12.xml"/><Relationship Id="rId15" Type="http://schemas.openxmlformats.org/officeDocument/2006/relationships/image" Target="../media/image4.png"/><Relationship Id="rId23" Type="http://schemas.openxmlformats.org/officeDocument/2006/relationships/image" Target="../media/image6.png"/><Relationship Id="rId10" Type="http://schemas.openxmlformats.org/officeDocument/2006/relationships/tags" Target="../tags/tag17.xml"/><Relationship Id="rId19" Type="http://schemas.openxmlformats.org/officeDocument/2006/relationships/image" Target="../media/image3.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1.xml"/><Relationship Id="rId22"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27.svg"/><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tags" Target="../tags/tag114.xml"/><Relationship Id="rId16" Type="http://schemas.openxmlformats.org/officeDocument/2006/relationships/image" Target="../media/image30.png"/><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image" Target="../media/image25.svg"/><Relationship Id="rId5" Type="http://schemas.openxmlformats.org/officeDocument/2006/relationships/tags" Target="../tags/tag117.xml"/><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tags" Target="../tags/tag116.xml"/><Relationship Id="rId9" Type="http://schemas.openxmlformats.org/officeDocument/2006/relationships/notesSlide" Target="../notesSlides/notesSlide8.xml"/><Relationship Id="rId1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image" Target="../media/image33.svg"/><Relationship Id="rId2" Type="http://schemas.openxmlformats.org/officeDocument/2006/relationships/tags" Target="../tags/tag121.xml"/><Relationship Id="rId16" Type="http://schemas.openxmlformats.org/officeDocument/2006/relationships/image" Target="../media/image32.png"/><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slideLayout" Target="../slideLayouts/slideLayout1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38.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37.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36.png"/><Relationship Id="rId5" Type="http://schemas.openxmlformats.org/officeDocument/2006/relationships/tags" Target="../tags/tag138.xml"/><Relationship Id="rId10" Type="http://schemas.openxmlformats.org/officeDocument/2006/relationships/image" Target="../media/image35.svg"/><Relationship Id="rId4" Type="http://schemas.openxmlformats.org/officeDocument/2006/relationships/tags" Target="../tags/tag137.xml"/><Relationship Id="rId9" Type="http://schemas.openxmlformats.org/officeDocument/2006/relationships/image" Target="../media/image34.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141.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tags" Target="../tags/tag144.xml"/><Relationship Id="rId7" Type="http://schemas.openxmlformats.org/officeDocument/2006/relationships/image" Target="../media/image42.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6.xml"/><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notesSlide" Target="../notesSlides/notesSlide10.xml"/><Relationship Id="rId9"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52.jpe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notesSlide" Target="../notesSlides/notesSlide11.xml"/><Relationship Id="rId5" Type="http://schemas.openxmlformats.org/officeDocument/2006/relationships/slideLayout" Target="../slideLayouts/slideLayout22.xml"/><Relationship Id="rId4" Type="http://schemas.openxmlformats.org/officeDocument/2006/relationships/tags" Target="../tags/tag153.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slideLayout" Target="../slideLayouts/slideLayout14.xml"/><Relationship Id="rId4" Type="http://schemas.openxmlformats.org/officeDocument/2006/relationships/tags" Target="../tags/tag157.xml"/><Relationship Id="rId9" Type="http://schemas.openxmlformats.org/officeDocument/2006/relationships/tags" Target="../tags/tag162.xml"/></Relationships>
</file>

<file path=ppt/slides/_rels/slide21.xml.rels><?xml version="1.0" encoding="UTF-8" standalone="yes"?>
<Relationships xmlns="http://schemas.openxmlformats.org/package/2006/relationships"><Relationship Id="rId8" Type="http://schemas.openxmlformats.org/officeDocument/2006/relationships/tags" Target="../tags/tag170.xml"/><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slideLayout" Target="../slideLayouts/slideLayout14.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11" Type="http://schemas.openxmlformats.org/officeDocument/2006/relationships/tags" Target="../tags/tag173.xml"/><Relationship Id="rId5" Type="http://schemas.openxmlformats.org/officeDocument/2006/relationships/tags" Target="../tags/tag167.xml"/><Relationship Id="rId10" Type="http://schemas.openxmlformats.org/officeDocument/2006/relationships/tags" Target="../tags/tag172.xml"/><Relationship Id="rId4" Type="http://schemas.openxmlformats.org/officeDocument/2006/relationships/tags" Target="../tags/tag166.xml"/><Relationship Id="rId9" Type="http://schemas.openxmlformats.org/officeDocument/2006/relationships/tags" Target="../tags/tag17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5.xml"/><Relationship Id="rId1" Type="http://schemas.openxmlformats.org/officeDocument/2006/relationships/tags" Target="../tags/tag174.xml"/><Relationship Id="rId4" Type="http://schemas.openxmlformats.org/officeDocument/2006/relationships/notesSlide" Target="../notesSlides/notesSlide1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hyperlink" Target="https://www.canada.ca/en/government/publicservice/modernizing/hybrid-work/common-hybrid-work-model.html" TargetMode="External"/></Relationships>
</file>

<file path=ppt/slides/_rels/slide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slideLayout" Target="../slideLayouts/slideLayout6.xml"/><Relationship Id="rId4" Type="http://schemas.openxmlformats.org/officeDocument/2006/relationships/tags" Target="../tags/tag3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image" Target="../media/image12.png"/><Relationship Id="rId3" Type="http://schemas.openxmlformats.org/officeDocument/2006/relationships/tags" Target="../tags/tag35.xml"/><Relationship Id="rId21" Type="http://schemas.openxmlformats.org/officeDocument/2006/relationships/slideLayout" Target="../slideLayouts/slideLayout6.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image" Target="../media/image11.png"/><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15.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0.png"/><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image" Target="../media/image9.png"/><Relationship Id="rId28" Type="http://schemas.openxmlformats.org/officeDocument/2006/relationships/image" Target="../media/image14.png"/><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notesSlide" Target="../notesSlides/notesSlide4.xml"/><Relationship Id="rId27" Type="http://schemas.openxmlformats.org/officeDocument/2006/relationships/image" Target="../media/image13.png"/></Relationships>
</file>

<file path=ppt/slides/_rels/slide8.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tags" Target="../tags/tag91.xml"/><Relationship Id="rId21" Type="http://schemas.openxmlformats.org/officeDocument/2006/relationships/tags" Target="../tags/tag73.xml"/><Relationship Id="rId34" Type="http://schemas.openxmlformats.org/officeDocument/2006/relationships/tags" Target="../tags/tag86.xml"/><Relationship Id="rId42" Type="http://schemas.openxmlformats.org/officeDocument/2006/relationships/tags" Target="../tags/tag94.xml"/><Relationship Id="rId47" Type="http://schemas.openxmlformats.org/officeDocument/2006/relationships/tags" Target="../tags/tag99.xml"/><Relationship Id="rId50" Type="http://schemas.openxmlformats.org/officeDocument/2006/relationships/tags" Target="../tags/tag102.xml"/><Relationship Id="rId55" Type="http://schemas.openxmlformats.org/officeDocument/2006/relationships/slideLayout" Target="../slideLayouts/slideLayout6.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tags" Target="../tags/tag81.xml"/><Relationship Id="rId41" Type="http://schemas.openxmlformats.org/officeDocument/2006/relationships/tags" Target="../tags/tag93.xml"/><Relationship Id="rId54" Type="http://schemas.openxmlformats.org/officeDocument/2006/relationships/tags" Target="../tags/tag106.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tags" Target="../tags/tag92.xml"/><Relationship Id="rId45" Type="http://schemas.openxmlformats.org/officeDocument/2006/relationships/tags" Target="../tags/tag97.xml"/><Relationship Id="rId53" Type="http://schemas.openxmlformats.org/officeDocument/2006/relationships/tags" Target="../tags/tag105.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tags" Target="../tags/tag95.xml"/><Relationship Id="rId48" Type="http://schemas.openxmlformats.org/officeDocument/2006/relationships/tags" Target="../tags/tag100.xml"/><Relationship Id="rId56" Type="http://schemas.openxmlformats.org/officeDocument/2006/relationships/notesSlide" Target="../notesSlides/notesSlide5.xml"/><Relationship Id="rId8" Type="http://schemas.openxmlformats.org/officeDocument/2006/relationships/tags" Target="../tags/tag60.xml"/><Relationship Id="rId51" Type="http://schemas.openxmlformats.org/officeDocument/2006/relationships/tags" Target="../tags/tag103.xml"/><Relationship Id="rId3" Type="http://schemas.openxmlformats.org/officeDocument/2006/relationships/tags" Target="../tags/tag55.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tags" Target="../tags/tag109.xml"/><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notesSlide" Target="../notesSlides/notesSlide6.xml"/><Relationship Id="rId10" Type="http://schemas.openxmlformats.org/officeDocument/2006/relationships/image" Target="../media/image20.png"/><Relationship Id="rId4" Type="http://schemas.openxmlformats.org/officeDocument/2006/relationships/slideLayout" Target="../slideLayouts/slideLayout22.xml"/><Relationship Id="rId9"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pic>
        <p:nvPicPr>
          <p:cNvPr id="13" name="Picture 12">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5"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custDataLst>
              <p:tags r:id="rId2"/>
            </p:custDataLst>
          </p:nvPr>
        </p:nvPicPr>
        <p:blipFill>
          <a:blip r:embed="rId16">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18898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4"/>
            </p:custDataLst>
          </p:nvPr>
        </p:nvSpPr>
        <p:spPr>
          <a:xfrm>
            <a:off x="-7347" y="-11436"/>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sp>
        <p:nvSpPr>
          <p:cNvPr id="2" name="Title 1"/>
          <p:cNvSpPr>
            <a:spLocks noGrp="1"/>
          </p:cNvSpPr>
          <p:nvPr>
            <p:ph type="ctrTitle"/>
            <p:custDataLst>
              <p:tags r:id="rId5"/>
            </p:custDataLst>
          </p:nvPr>
        </p:nvSpPr>
        <p:spPr>
          <a:xfrm>
            <a:off x="511883" y="2087217"/>
            <a:ext cx="4704551" cy="1587701"/>
          </a:xfrm>
        </p:spPr>
        <p:txBody>
          <a:bodyPr>
            <a:noAutofit/>
          </a:bodyPr>
          <a:lstStyle/>
          <a:p>
            <a:r>
              <a:rPr lang="fr-CA" sz="3200" dirty="0">
                <a:solidFill>
                  <a:schemeClr val="bg1"/>
                </a:solidFill>
              </a:rPr>
              <a:t>Gérer le changement en milieu de travail</a:t>
            </a:r>
            <a:endParaRPr lang="fr-CA" sz="3200" dirty="0"/>
          </a:p>
        </p:txBody>
      </p:sp>
      <p:sp>
        <p:nvSpPr>
          <p:cNvPr id="3" name="Subtitle 2"/>
          <p:cNvSpPr>
            <a:spLocks noGrp="1"/>
          </p:cNvSpPr>
          <p:nvPr>
            <p:ph type="subTitle" idx="1"/>
            <p:custDataLst>
              <p:tags r:id="rId6"/>
            </p:custDataLst>
          </p:nvPr>
        </p:nvSpPr>
        <p:spPr>
          <a:xfrm>
            <a:off x="545307" y="3657327"/>
            <a:ext cx="3150393" cy="678352"/>
          </a:xfrm>
        </p:spPr>
        <p:txBody>
          <a:bodyPr>
            <a:normAutofit lnSpcReduction="10000"/>
          </a:bodyPr>
          <a:lstStyle/>
          <a:p>
            <a:r>
              <a:rPr lang="fr-CA" dirty="0">
                <a:solidFill>
                  <a:schemeClr val="accent2"/>
                </a:solidFill>
              </a:rPr>
              <a:t>Un guide pour gérer le changement et soutenir les membres de l'équipe</a:t>
            </a:r>
          </a:p>
        </p:txBody>
      </p:sp>
      <p:sp>
        <p:nvSpPr>
          <p:cNvPr id="7" name="Text Placeholder 6"/>
          <p:cNvSpPr>
            <a:spLocks noGrp="1"/>
          </p:cNvSpPr>
          <p:nvPr>
            <p:ph type="body" sz="quarter" idx="13"/>
            <p:custDataLst>
              <p:tags r:id="rId7"/>
            </p:custDataLst>
          </p:nvPr>
        </p:nvSpPr>
        <p:spPr>
          <a:xfrm>
            <a:off x="511883" y="4580331"/>
            <a:ext cx="3494087" cy="526957"/>
          </a:xfrm>
        </p:spPr>
        <p:txBody>
          <a:bodyPr/>
          <a:lstStyle/>
          <a:p>
            <a:r>
              <a:rPr lang="fr-CA" sz="1100" dirty="0">
                <a:solidFill>
                  <a:schemeClr val="bg1"/>
                </a:solidFill>
              </a:rPr>
              <a:t>Date : février 2023</a:t>
            </a:r>
          </a:p>
        </p:txBody>
      </p:sp>
      <p:sp>
        <p:nvSpPr>
          <p:cNvPr id="9" name="Rectangle 8">
            <a:extLst>
              <a:ext uri="{C183D7F6-B498-43B3-948B-1728B52AA6E4}">
                <adec:decorative xmlns:adec="http://schemas.microsoft.com/office/drawing/2017/decorative" val="1"/>
              </a:ext>
            </a:extLst>
          </p:cNvPr>
          <p:cNvSpPr/>
          <p:nvPr>
            <p:custDataLst>
              <p:tags r:id="rId8"/>
            </p:custDataLst>
          </p:nvPr>
        </p:nvSpPr>
        <p:spPr>
          <a:xfrm>
            <a:off x="-7347" y="612832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9"/>
            </p:custDataLst>
          </p:nvPr>
        </p:nvPicPr>
        <p:blipFill>
          <a:blip r:embed="rId19">
            <a:extLst>
              <a:ext uri="{28A0092B-C50C-407E-A947-70E740481C1C}">
                <a14:useLocalDpi xmlns:a14="http://schemas.microsoft.com/office/drawing/2010/main" val="0"/>
              </a:ext>
            </a:extLst>
          </a:blip>
          <a:srcRect/>
          <a:stretch/>
        </p:blipFill>
        <p:spPr>
          <a:xfrm>
            <a:off x="585681" y="6402766"/>
            <a:ext cx="2036645" cy="195127"/>
          </a:xfrm>
          <a:prstGeom prst="rect">
            <a:avLst/>
          </a:prstGeom>
        </p:spPr>
      </p:pic>
      <p:pic>
        <p:nvPicPr>
          <p:cNvPr id="14" name="Picture 13">
            <a:hlinkClick r:id="rId2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10"/>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grpSp>
        <p:nvGrpSpPr>
          <p:cNvPr id="5" name="Group 4">
            <a:extLst>
              <a:ext uri="{FF2B5EF4-FFF2-40B4-BE49-F238E27FC236}">
                <a16:creationId xmlns:a16="http://schemas.microsoft.com/office/drawing/2014/main" id="{B5D0BBF6-5584-E5C7-F432-49F1ECB7FCB8}"/>
              </a:ext>
              <a:ext uri="{C183D7F6-B498-43B3-948B-1728B52AA6E4}">
                <adec:decorative xmlns:adec="http://schemas.microsoft.com/office/drawing/2017/decorative" val="1"/>
              </a:ext>
            </a:extLst>
          </p:cNvPr>
          <p:cNvGrpSpPr/>
          <p:nvPr>
            <p:custDataLst>
              <p:tags r:id="rId11"/>
            </p:custDataLst>
          </p:nvPr>
        </p:nvGrpSpPr>
        <p:grpSpPr>
          <a:xfrm>
            <a:off x="7343" y="22005"/>
            <a:ext cx="2196206" cy="853438"/>
            <a:chOff x="1588" y="1588"/>
            <a:chExt cx="2196206" cy="853438"/>
          </a:xfrm>
        </p:grpSpPr>
        <p:graphicFrame>
          <p:nvGraphicFramePr>
            <p:cNvPr id="10" name="Object 9">
              <a:extLst>
                <a:ext uri="{FF2B5EF4-FFF2-40B4-BE49-F238E27FC236}">
                  <a16:creationId xmlns:a16="http://schemas.microsoft.com/office/drawing/2014/main" id="{07F064F6-17A1-C233-1E65-FF057AE4BDA5}"/>
                </a:ext>
                <a:ext uri="{C183D7F6-B498-43B3-948B-1728B52AA6E4}">
                  <adec:decorative xmlns:adec="http://schemas.microsoft.com/office/drawing/2017/decorative" val="1"/>
                </a:ext>
              </a:extLst>
            </p:cNvPr>
            <p:cNvGraphicFramePr>
              <a:graphicFrameLocks noChangeAspect="1"/>
            </p:cNvGraphicFramePr>
            <p:nvPr>
              <p:custDataLst>
                <p:tags r:id="rId12"/>
              </p:custDataLst>
              <p:extLst>
                <p:ext uri="{D42A27DB-BD31-4B8C-83A1-F6EECF244321}">
                  <p14:modId xmlns:p14="http://schemas.microsoft.com/office/powerpoint/2010/main" val="2870190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10" name="Object 9">
                          <a:extLst>
                            <a:ext uri="{FF2B5EF4-FFF2-40B4-BE49-F238E27FC236}">
                              <a16:creationId xmlns:a16="http://schemas.microsoft.com/office/drawing/2014/main" id="{07F064F6-17A1-C233-1E65-FF057AE4BDA5}"/>
                            </a:ext>
                            <a:ext uri="{C183D7F6-B498-43B3-948B-1728B52AA6E4}">
                              <adec:decorative xmlns:adec="http://schemas.microsoft.com/office/drawing/2017/decorative" val="1"/>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5CD67BE-7AD8-E118-8E39-C1C3B447A044}"/>
                </a:ext>
                <a:ext uri="{C183D7F6-B498-43B3-948B-1728B52AA6E4}">
                  <adec:decorative xmlns:adec="http://schemas.microsoft.com/office/drawing/2017/decorative" val="1"/>
                </a:ext>
              </a:extLst>
            </p:cNvPr>
            <p:cNvPicPr>
              <a:picLocks noChangeAspect="1"/>
            </p:cNvPicPr>
            <p:nvPr/>
          </p:nvPicPr>
          <p:blipFill rotWithShape="1">
            <a:blip r:embed="rId23" cstate="screen">
              <a:extLst>
                <a:ext uri="{28A0092B-C50C-407E-A947-70E740481C1C}">
                  <a14:useLocalDpi xmlns:a14="http://schemas.microsoft.com/office/drawing/2010/main" val="0"/>
                </a:ext>
              </a:extLst>
            </a:blip>
            <a:srcRect/>
            <a:stretch/>
          </p:blipFill>
          <p:spPr>
            <a:xfrm>
              <a:off x="982494" y="349374"/>
              <a:ext cx="1215300" cy="361446"/>
            </a:xfrm>
            <a:prstGeom prst="rect">
              <a:avLst/>
            </a:prstGeom>
          </p:spPr>
        </p:pic>
        <p:pic>
          <p:nvPicPr>
            <p:cNvPr id="12" name="Picture 11">
              <a:extLst>
                <a:ext uri="{FF2B5EF4-FFF2-40B4-BE49-F238E27FC236}">
                  <a16:creationId xmlns:a16="http://schemas.microsoft.com/office/drawing/2014/main" id="{E99982DE-4842-4EFE-108D-313749543253}"/>
                </a:ext>
              </a:extLst>
            </p:cNvPr>
            <p:cNvPicPr>
              <a:picLocks noChangeAspect="1"/>
            </p:cNvPicPr>
            <p:nvPr/>
          </p:nvPicPr>
          <p:blipFill rotWithShape="1">
            <a:blip r:embed="rId24"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custDataLst>
              <p:tags r:id="rId1"/>
            </p:custDataLst>
          </p:nvPr>
        </p:nvSpPr>
        <p:spPr>
          <a:xfrm>
            <a:off x="508760" y="557949"/>
            <a:ext cx="11006344" cy="835027"/>
          </a:xfrm>
        </p:spPr>
        <p:txBody>
          <a:bodyPr/>
          <a:lstStyle/>
          <a:p>
            <a:r>
              <a:rPr lang="fr-CA" dirty="0"/>
              <a:t>Canevas de la stratégie de gestion du changement</a:t>
            </a:r>
          </a:p>
        </p:txBody>
      </p:sp>
      <p:sp>
        <p:nvSpPr>
          <p:cNvPr id="44" name="ZoneTexte 43">
            <a:extLst>
              <a:ext uri="{FF2B5EF4-FFF2-40B4-BE49-F238E27FC236}">
                <a16:creationId xmlns:a16="http://schemas.microsoft.com/office/drawing/2014/main" id="{C7821F24-6F80-CA3D-510D-5C9620480FB6}"/>
              </a:ext>
            </a:extLst>
          </p:cNvPr>
          <p:cNvSpPr txBox="1"/>
          <p:nvPr>
            <p:custDataLst>
              <p:tags r:id="rId2"/>
            </p:custDataLst>
          </p:nvPr>
        </p:nvSpPr>
        <p:spPr>
          <a:xfrm>
            <a:off x="617838" y="1940011"/>
            <a:ext cx="5955957" cy="369332"/>
          </a:xfrm>
          <a:prstGeom prst="rect">
            <a:avLst/>
          </a:prstGeom>
          <a:noFill/>
        </p:spPr>
        <p:txBody>
          <a:bodyPr wrap="square" rtlCol="0">
            <a:spAutoFit/>
          </a:bodyPr>
          <a:lstStyle/>
          <a:p>
            <a:r>
              <a:rPr lang="fr-CA" dirty="0">
                <a:highlight>
                  <a:srgbClr val="FFFF00"/>
                </a:highlight>
              </a:rPr>
              <a:t>Insérez le canevas de votre stratégie de </a:t>
            </a:r>
            <a:r>
              <a:rPr lang="fr-CA" dirty="0" err="1">
                <a:highlight>
                  <a:srgbClr val="FFFF00"/>
                </a:highlight>
              </a:rPr>
              <a:t>GdC</a:t>
            </a:r>
            <a:endParaRPr lang="fr-CA" dirty="0">
              <a:highlight>
                <a:srgbClr val="FFFF00"/>
              </a:highlight>
            </a:endParaRPr>
          </a:p>
        </p:txBody>
      </p:sp>
    </p:spTree>
    <p:extLst>
      <p:ext uri="{BB962C8B-B14F-4D97-AF65-F5344CB8AC3E}">
        <p14:creationId xmlns:p14="http://schemas.microsoft.com/office/powerpoint/2010/main" val="3981118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91A1F92-F0AB-4EFA-40EE-A33352BD8C2E}"/>
              </a:ext>
            </a:extLst>
          </p:cNvPr>
          <p:cNvSpPr>
            <a:spLocks noGrp="1"/>
          </p:cNvSpPr>
          <p:nvPr>
            <p:ph type="title" idx="4294967295"/>
            <p:custDataLst>
              <p:tags r:id="rId1"/>
            </p:custDataLst>
          </p:nvPr>
        </p:nvSpPr>
        <p:spPr>
          <a:xfrm>
            <a:off x="528638" y="2085975"/>
            <a:ext cx="11115675" cy="1954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CA" sz="44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La boîte à outils en gestion du changement de votre gestionnaire</a:t>
            </a:r>
          </a:p>
        </p:txBody>
      </p:sp>
    </p:spTree>
    <p:extLst>
      <p:ext uri="{BB962C8B-B14F-4D97-AF65-F5344CB8AC3E}">
        <p14:creationId xmlns:p14="http://schemas.microsoft.com/office/powerpoint/2010/main" val="719294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custDataLst>
              <p:tags r:id="rId1"/>
            </p:custDataLst>
          </p:nvPr>
        </p:nvSpPr>
        <p:spPr/>
        <p:txBody>
          <a:bodyPr>
            <a:normAutofit fontScale="90000"/>
          </a:bodyPr>
          <a:lstStyle/>
          <a:p>
            <a:r>
              <a:rPr lang="fr-CA" dirty="0"/>
              <a:t>Pourquoi les gestionnaires sont-ils si importants en période de changement? </a:t>
            </a:r>
          </a:p>
        </p:txBody>
      </p:sp>
      <p:sp>
        <p:nvSpPr>
          <p:cNvPr id="8" name="TextBox 7">
            <a:extLst>
              <a:ext uri="{FF2B5EF4-FFF2-40B4-BE49-F238E27FC236}">
                <a16:creationId xmlns:a16="http://schemas.microsoft.com/office/drawing/2014/main" id="{500614F0-6698-45A0-B762-A6B5D891CC12}"/>
              </a:ext>
            </a:extLst>
          </p:cNvPr>
          <p:cNvSpPr txBox="1"/>
          <p:nvPr>
            <p:custDataLst>
              <p:tags r:id="rId2"/>
            </p:custDataLst>
          </p:nvPr>
        </p:nvSpPr>
        <p:spPr>
          <a:xfrm>
            <a:off x="615569" y="1790374"/>
            <a:ext cx="10792723" cy="523220"/>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La recherche indique que les gestionnaires ont été désignés comme l'un des principaux facteurs de réussite de la gestion du changement. Voici pourquoi : </a:t>
            </a:r>
          </a:p>
        </p:txBody>
      </p:sp>
      <p:grpSp>
        <p:nvGrpSpPr>
          <p:cNvPr id="41" name="Group 40" descr="4 colored bubbles. #1 includes the words ''Communicate clearly and often'' with a megaphone icon, #2 includes the words ''Build solid relationships and team dynamics'' with an icon of 5 hands coming together, #3 includes the words ''Mentor, coach and engage employees'' as well as an icon of 3 people standing side by side, and #4 includes the words ''Encourage exploration and performance'' with an icon of a magnifying glass.">
            <a:extLst>
              <a:ext uri="{FF2B5EF4-FFF2-40B4-BE49-F238E27FC236}">
                <a16:creationId xmlns:a16="http://schemas.microsoft.com/office/drawing/2014/main" id="{0771C080-8346-4646-AF35-12941E0F9E4B}"/>
              </a:ext>
            </a:extLst>
          </p:cNvPr>
          <p:cNvGrpSpPr/>
          <p:nvPr>
            <p:custDataLst>
              <p:tags r:id="rId3"/>
            </p:custDataLst>
          </p:nvPr>
        </p:nvGrpSpPr>
        <p:grpSpPr>
          <a:xfrm>
            <a:off x="301358" y="2782458"/>
            <a:ext cx="10839780" cy="2361969"/>
            <a:chOff x="283782" y="3695700"/>
            <a:chExt cx="10839780" cy="2361969"/>
          </a:xfrm>
        </p:grpSpPr>
        <p:grpSp>
          <p:nvGrpSpPr>
            <p:cNvPr id="18" name="Group 17">
              <a:extLst>
                <a:ext uri="{FF2B5EF4-FFF2-40B4-BE49-F238E27FC236}">
                  <a16:creationId xmlns:a16="http://schemas.microsoft.com/office/drawing/2014/main" id="{E8956A68-AF4B-4F57-852D-F7240369E656}"/>
                </a:ext>
              </a:extLst>
            </p:cNvPr>
            <p:cNvGrpSpPr/>
            <p:nvPr/>
          </p:nvGrpSpPr>
          <p:grpSpPr>
            <a:xfrm>
              <a:off x="3118502" y="3695700"/>
              <a:ext cx="2786522" cy="2318053"/>
              <a:chOff x="3118502" y="3695700"/>
              <a:chExt cx="2786522" cy="2318053"/>
            </a:xfrm>
          </p:grpSpPr>
          <p:sp>
            <p:nvSpPr>
              <p:cNvPr id="9" name="Oval 8">
                <a:extLst>
                  <a:ext uri="{FF2B5EF4-FFF2-40B4-BE49-F238E27FC236}">
                    <a16:creationId xmlns:a16="http://schemas.microsoft.com/office/drawing/2014/main" id="{913C1812-715A-46AA-93A3-DFBB8BFBFB77}"/>
                  </a:ext>
                </a:extLst>
              </p:cNvPr>
              <p:cNvSpPr/>
              <p:nvPr/>
            </p:nvSpPr>
            <p:spPr>
              <a:xfrm>
                <a:off x="3402080" y="3784600"/>
                <a:ext cx="2108200" cy="21082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lumMod val="95000"/>
                        <a:lumOff val="5000"/>
                      </a:schemeClr>
                    </a:solidFill>
                    <a:latin typeface="Arial" panose="020B0604020202020204" pitchFamily="34" charset="0"/>
                    <a:cs typeface="Arial" panose="020B0604020202020204" pitchFamily="34" charset="0"/>
                  </a:rPr>
                  <a:t>Vous êtes le communicateur privilégié</a:t>
                </a:r>
              </a:p>
            </p:txBody>
          </p:sp>
          <p:sp>
            <p:nvSpPr>
              <p:cNvPr id="13" name="Oval 12">
                <a:extLst>
                  <a:ext uri="{FF2B5EF4-FFF2-40B4-BE49-F238E27FC236}">
                    <a16:creationId xmlns:a16="http://schemas.microsoft.com/office/drawing/2014/main" id="{567B0D0C-3B07-4F68-8971-DF0F5502BC44}"/>
                  </a:ext>
                </a:extLst>
              </p:cNvPr>
              <p:cNvSpPr/>
              <p:nvPr/>
            </p:nvSpPr>
            <p:spPr>
              <a:xfrm>
                <a:off x="3118502" y="3695700"/>
                <a:ext cx="826569" cy="81406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lumMod val="95000"/>
                      </a:schemeClr>
                    </a:solidFill>
                  </a:rPr>
                  <a:t>2</a:t>
                </a:r>
              </a:p>
            </p:txBody>
          </p:sp>
          <p:sp>
            <p:nvSpPr>
              <p:cNvPr id="17" name="Oval 16">
                <a:extLst>
                  <a:ext uri="{FF2B5EF4-FFF2-40B4-BE49-F238E27FC236}">
                    <a16:creationId xmlns:a16="http://schemas.microsoft.com/office/drawing/2014/main" id="{53E7AE0D-9FBF-45ED-BBC3-61684C08E034}"/>
                  </a:ext>
                </a:extLst>
              </p:cNvPr>
              <p:cNvSpPr/>
              <p:nvPr/>
            </p:nvSpPr>
            <p:spPr>
              <a:xfrm>
                <a:off x="5078455" y="5187184"/>
                <a:ext cx="826569" cy="8265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nvGrpSpPr>
            <p:cNvPr id="19" name="Group 18">
              <a:extLst>
                <a:ext uri="{FF2B5EF4-FFF2-40B4-BE49-F238E27FC236}">
                  <a16:creationId xmlns:a16="http://schemas.microsoft.com/office/drawing/2014/main" id="{1FA3DB04-AE97-49FD-84C6-7339B4FFD401}"/>
                </a:ext>
              </a:extLst>
            </p:cNvPr>
            <p:cNvGrpSpPr/>
            <p:nvPr/>
          </p:nvGrpSpPr>
          <p:grpSpPr>
            <a:xfrm>
              <a:off x="283782" y="3695700"/>
              <a:ext cx="2472653" cy="2260079"/>
              <a:chOff x="-2205338" y="3695700"/>
              <a:chExt cx="2472653" cy="2260079"/>
            </a:xfrm>
          </p:grpSpPr>
          <p:sp>
            <p:nvSpPr>
              <p:cNvPr id="20" name="Oval 19">
                <a:extLst>
                  <a:ext uri="{FF2B5EF4-FFF2-40B4-BE49-F238E27FC236}">
                    <a16:creationId xmlns:a16="http://schemas.microsoft.com/office/drawing/2014/main" id="{9031742B-BEBA-4AE8-A8AF-F56808DB1541}"/>
                  </a:ext>
                </a:extLst>
              </p:cNvPr>
              <p:cNvSpPr/>
              <p:nvPr/>
            </p:nvSpPr>
            <p:spPr>
              <a:xfrm>
                <a:off x="-1992880" y="3784600"/>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Les employés vous font confiance</a:t>
                </a:r>
              </a:p>
            </p:txBody>
          </p:sp>
          <p:sp>
            <p:nvSpPr>
              <p:cNvPr id="21" name="Oval 20">
                <a:extLst>
                  <a:ext uri="{FF2B5EF4-FFF2-40B4-BE49-F238E27FC236}">
                    <a16:creationId xmlns:a16="http://schemas.microsoft.com/office/drawing/2014/main" id="{AEA1D146-B1D0-4DA9-9ACE-52128B2D796E}"/>
                  </a:ext>
                </a:extLst>
              </p:cNvPr>
              <p:cNvSpPr/>
              <p:nvPr/>
            </p:nvSpPr>
            <p:spPr>
              <a:xfrm>
                <a:off x="-2205338" y="3695700"/>
                <a:ext cx="826569" cy="81406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solidFill>
                  </a:rPr>
                  <a:t>1</a:t>
                </a:r>
              </a:p>
            </p:txBody>
          </p:sp>
          <p:sp>
            <p:nvSpPr>
              <p:cNvPr id="22" name="Oval 21">
                <a:extLst>
                  <a:ext uri="{FF2B5EF4-FFF2-40B4-BE49-F238E27FC236}">
                    <a16:creationId xmlns:a16="http://schemas.microsoft.com/office/drawing/2014/main" id="{985303B0-4D73-477A-A149-15587C809E1B}"/>
                  </a:ext>
                </a:extLst>
              </p:cNvPr>
              <p:cNvSpPr/>
              <p:nvPr/>
            </p:nvSpPr>
            <p:spPr>
              <a:xfrm>
                <a:off x="-559254" y="5129210"/>
                <a:ext cx="826569" cy="82656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nvGrpSpPr>
            <p:cNvPr id="23" name="Group 22">
              <a:extLst>
                <a:ext uri="{FF2B5EF4-FFF2-40B4-BE49-F238E27FC236}">
                  <a16:creationId xmlns:a16="http://schemas.microsoft.com/office/drawing/2014/main" id="{A23AF3B0-FCAD-4891-883D-A976B2CED5FC}"/>
                </a:ext>
              </a:extLst>
            </p:cNvPr>
            <p:cNvGrpSpPr/>
            <p:nvPr/>
          </p:nvGrpSpPr>
          <p:grpSpPr>
            <a:xfrm>
              <a:off x="6013942" y="3695700"/>
              <a:ext cx="2566469" cy="2274138"/>
              <a:chOff x="1035702" y="3695700"/>
              <a:chExt cx="2566469" cy="2274138"/>
            </a:xfrm>
          </p:grpSpPr>
          <p:sp>
            <p:nvSpPr>
              <p:cNvPr id="24" name="Oval 23">
                <a:extLst>
                  <a:ext uri="{FF2B5EF4-FFF2-40B4-BE49-F238E27FC236}">
                    <a16:creationId xmlns:a16="http://schemas.microsoft.com/office/drawing/2014/main" id="{D7ABFA5A-2948-41EC-AF91-AB2ACFB1383E}"/>
                  </a:ext>
                </a:extLst>
              </p:cNvPr>
              <p:cNvSpPr/>
              <p:nvPr/>
            </p:nvSpPr>
            <p:spPr>
              <a:xfrm>
                <a:off x="1319280" y="3784600"/>
                <a:ext cx="2108200" cy="2108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Arial" panose="020B0604020202020204" pitchFamily="34" charset="0"/>
                    <a:cs typeface="Arial" panose="020B0604020202020204" pitchFamily="34" charset="0"/>
                  </a:rPr>
                  <a:t>Vous offrez du soutien</a:t>
                </a:r>
              </a:p>
            </p:txBody>
          </p:sp>
          <p:sp>
            <p:nvSpPr>
              <p:cNvPr id="25" name="Oval 24">
                <a:extLst>
                  <a:ext uri="{FF2B5EF4-FFF2-40B4-BE49-F238E27FC236}">
                    <a16:creationId xmlns:a16="http://schemas.microsoft.com/office/drawing/2014/main" id="{D18FB770-9587-4D7D-A6C4-0226F7653F76}"/>
                  </a:ext>
                </a:extLst>
              </p:cNvPr>
              <p:cNvSpPr/>
              <p:nvPr/>
            </p:nvSpPr>
            <p:spPr>
              <a:xfrm>
                <a:off x="1035702" y="3695700"/>
                <a:ext cx="826569" cy="81406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solidFill>
                  </a:rPr>
                  <a:t>3</a:t>
                </a:r>
              </a:p>
            </p:txBody>
          </p:sp>
          <p:sp>
            <p:nvSpPr>
              <p:cNvPr id="26" name="Oval 25">
                <a:extLst>
                  <a:ext uri="{FF2B5EF4-FFF2-40B4-BE49-F238E27FC236}">
                    <a16:creationId xmlns:a16="http://schemas.microsoft.com/office/drawing/2014/main" id="{D3D30C84-6D5A-4DA1-991B-74F42027021B}"/>
                  </a:ext>
                </a:extLst>
              </p:cNvPr>
              <p:cNvSpPr/>
              <p:nvPr/>
            </p:nvSpPr>
            <p:spPr>
              <a:xfrm>
                <a:off x="2775602" y="5143269"/>
                <a:ext cx="826569" cy="826569"/>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grpSp>
        <p:pic>
          <p:nvPicPr>
            <p:cNvPr id="33" name="Graphic 32" descr="Megaphone">
              <a:extLst>
                <a:ext uri="{FF2B5EF4-FFF2-40B4-BE49-F238E27FC236}">
                  <a16:creationId xmlns:a16="http://schemas.microsoft.com/office/drawing/2014/main" id="{CA77D4E7-3FEA-4437-A84B-9ADC66A739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44839" y="5085887"/>
              <a:ext cx="874964" cy="874964"/>
            </a:xfrm>
            <a:prstGeom prst="rect">
              <a:avLst/>
            </a:prstGeom>
          </p:spPr>
        </p:pic>
        <p:pic>
          <p:nvPicPr>
            <p:cNvPr id="35" name="Graphic 34" descr="Cheers">
              <a:extLst>
                <a:ext uri="{FF2B5EF4-FFF2-40B4-BE49-F238E27FC236}">
                  <a16:creationId xmlns:a16="http://schemas.microsoft.com/office/drawing/2014/main" id="{2BD0C0AB-C94D-4E89-909C-80B0B454BF9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27491" y="5176538"/>
              <a:ext cx="831320" cy="831320"/>
            </a:xfrm>
            <a:prstGeom prst="rect">
              <a:avLst/>
            </a:prstGeom>
          </p:spPr>
        </p:pic>
        <p:pic>
          <p:nvPicPr>
            <p:cNvPr id="37" name="Graphic 36" descr="Group of women">
              <a:extLst>
                <a:ext uri="{FF2B5EF4-FFF2-40B4-BE49-F238E27FC236}">
                  <a16:creationId xmlns:a16="http://schemas.microsoft.com/office/drawing/2014/main" id="{9BB413A4-589A-4649-9D01-51843B8ADDA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19345" y="5143269"/>
              <a:ext cx="914400" cy="914400"/>
            </a:xfrm>
            <a:prstGeom prst="rect">
              <a:avLst/>
            </a:prstGeom>
          </p:spPr>
        </p:pic>
        <p:pic>
          <p:nvPicPr>
            <p:cNvPr id="39" name="Graphic 38" descr="Magnifying glass">
              <a:extLst>
                <a:ext uri="{FF2B5EF4-FFF2-40B4-BE49-F238E27FC236}">
                  <a16:creationId xmlns:a16="http://schemas.microsoft.com/office/drawing/2014/main" id="{F7B150AA-C9CD-4B4C-8CE6-4A22F43C290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09162" y="5134998"/>
              <a:ext cx="914400" cy="914400"/>
            </a:xfrm>
            <a:prstGeom prst="rect">
              <a:avLst/>
            </a:prstGeom>
          </p:spPr>
        </p:pic>
      </p:grpSp>
      <p:sp>
        <p:nvSpPr>
          <p:cNvPr id="3" name="Oval 27">
            <a:extLst>
              <a:ext uri="{FF2B5EF4-FFF2-40B4-BE49-F238E27FC236}">
                <a16:creationId xmlns:a16="http://schemas.microsoft.com/office/drawing/2014/main" id="{01878D68-837E-5268-997E-7F6A241FE287}"/>
              </a:ext>
            </a:extLst>
          </p:cNvPr>
          <p:cNvSpPr/>
          <p:nvPr>
            <p:custDataLst>
              <p:tags r:id="rId4"/>
            </p:custDataLst>
          </p:nvPr>
        </p:nvSpPr>
        <p:spPr>
          <a:xfrm>
            <a:off x="8885495" y="2921169"/>
            <a:ext cx="2108200" cy="2108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Vous êtes à proximité d’où le changement se produit</a:t>
            </a:r>
          </a:p>
        </p:txBody>
      </p:sp>
      <p:sp>
        <p:nvSpPr>
          <p:cNvPr id="4" name="Oval 28">
            <a:extLst>
              <a:ext uri="{FF2B5EF4-FFF2-40B4-BE49-F238E27FC236}">
                <a16:creationId xmlns:a16="http://schemas.microsoft.com/office/drawing/2014/main" id="{25BA348F-C9F0-AA22-1FE6-5AC453656143}"/>
              </a:ext>
            </a:extLst>
          </p:cNvPr>
          <p:cNvSpPr/>
          <p:nvPr>
            <p:custDataLst>
              <p:tags r:id="rId5"/>
            </p:custDataLst>
          </p:nvPr>
        </p:nvSpPr>
        <p:spPr>
          <a:xfrm>
            <a:off x="8601917" y="2832269"/>
            <a:ext cx="826569" cy="81406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solidFill>
              </a:rPr>
              <a:t>4</a:t>
            </a:r>
          </a:p>
        </p:txBody>
      </p:sp>
      <p:sp>
        <p:nvSpPr>
          <p:cNvPr id="5" name="Oval 29">
            <a:extLst>
              <a:ext uri="{FF2B5EF4-FFF2-40B4-BE49-F238E27FC236}">
                <a16:creationId xmlns:a16="http://schemas.microsoft.com/office/drawing/2014/main" id="{CB95E960-CE78-98CE-73A3-30C6CE832DA5}"/>
              </a:ext>
              <a:ext uri="{C183D7F6-B498-43B3-948B-1728B52AA6E4}">
                <adec:decorative xmlns:adec="http://schemas.microsoft.com/office/drawing/2017/decorative" val="1"/>
              </a:ext>
            </a:extLst>
          </p:cNvPr>
          <p:cNvSpPr/>
          <p:nvPr>
            <p:custDataLst>
              <p:tags r:id="rId6"/>
            </p:custDataLst>
          </p:nvPr>
        </p:nvSpPr>
        <p:spPr>
          <a:xfrm>
            <a:off x="10341817" y="4279838"/>
            <a:ext cx="826569" cy="82656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6" name="Graphic 38" descr="Magnifying glass">
            <a:extLst>
              <a:ext uri="{FF2B5EF4-FFF2-40B4-BE49-F238E27FC236}">
                <a16:creationId xmlns:a16="http://schemas.microsoft.com/office/drawing/2014/main" id="{E262B0F6-EACC-56E9-5DE1-0437D10F924D}"/>
              </a:ext>
            </a:extLst>
          </p:cNvPr>
          <p:cNvPicPr>
            <a:picLocks noChangeAspect="1"/>
          </p:cNvPicPr>
          <p:nvPr>
            <p:custDataLst>
              <p:tags r:id="rId7"/>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60655" y="4313107"/>
            <a:ext cx="914400" cy="914400"/>
          </a:xfrm>
          <a:prstGeom prst="rect">
            <a:avLst/>
          </a:prstGeom>
        </p:spPr>
      </p:pic>
    </p:spTree>
    <p:extLst>
      <p:ext uri="{BB962C8B-B14F-4D97-AF65-F5344CB8AC3E}">
        <p14:creationId xmlns:p14="http://schemas.microsoft.com/office/powerpoint/2010/main" val="4259597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263AE-E6EA-4109-9421-FEA20DDC8F2B}"/>
              </a:ext>
            </a:extLst>
          </p:cNvPr>
          <p:cNvSpPr>
            <a:spLocks noGrp="1"/>
          </p:cNvSpPr>
          <p:nvPr>
            <p:ph type="title"/>
            <p:custDataLst>
              <p:tags r:id="rId1"/>
            </p:custDataLst>
          </p:nvPr>
        </p:nvSpPr>
        <p:spPr/>
        <p:txBody>
          <a:bodyPr/>
          <a:lstStyle/>
          <a:p>
            <a:r>
              <a:rPr lang="fr-CA" dirty="0"/>
              <a:t>Votre rôle</a:t>
            </a:r>
          </a:p>
        </p:txBody>
      </p:sp>
      <p:sp>
        <p:nvSpPr>
          <p:cNvPr id="3" name="TextBox 7">
            <a:extLst>
              <a:ext uri="{FF2B5EF4-FFF2-40B4-BE49-F238E27FC236}">
                <a16:creationId xmlns:a16="http://schemas.microsoft.com/office/drawing/2014/main" id="{B9769580-64A6-9348-AE70-801B106B6F40}"/>
              </a:ext>
            </a:extLst>
          </p:cNvPr>
          <p:cNvSpPr txBox="1"/>
          <p:nvPr>
            <p:custDataLst>
              <p:tags r:id="rId2"/>
            </p:custDataLst>
          </p:nvPr>
        </p:nvSpPr>
        <p:spPr>
          <a:xfrm>
            <a:off x="508759" y="1393669"/>
            <a:ext cx="10792723" cy="1538883"/>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Les gestionnaires de personnel jouent un rôle essentiel en dirigeant et en soutenant les membres de leur équipe dans le cadre du changement. Aider les employés à faire face au changement signifie gérer les craintes et les angoisses - soutenir dans l'incertitude. </a:t>
            </a:r>
          </a:p>
          <a:p>
            <a:pPr>
              <a:spcAft>
                <a:spcPts val="600"/>
              </a:spcAft>
            </a:pPr>
            <a:r>
              <a:rPr lang="fr-CA" sz="1400" dirty="0">
                <a:latin typeface="Arial" panose="020B0604020202020204" pitchFamily="34" charset="0"/>
                <a:cs typeface="Arial" panose="020B0604020202020204" pitchFamily="34" charset="0"/>
              </a:rPr>
              <a:t>Au cours du projet d'optimisation du milieu de travail, votre rôle en tant que gestionnaire s'étend au-delà de vos responsabilités quotidiennes actuelles, car vous commencez à communiquer, à encadrer, à accompagner et à engager les employés tout au long de notre parcours de changement vers une adoption et un maintien réussis de notre nouveau milieu de travail. </a:t>
            </a:r>
          </a:p>
          <a:p>
            <a:r>
              <a:rPr lang="fr-CA" sz="1400" dirty="0">
                <a:latin typeface="Arial" panose="020B0604020202020204" pitchFamily="34" charset="0"/>
                <a:cs typeface="Arial" panose="020B0604020202020204" pitchFamily="34" charset="0"/>
              </a:rPr>
              <a:t>En tant que gestionnaire de personnel, vous aurez cinq rôles uniques et importants à jouer : </a:t>
            </a:r>
          </a:p>
        </p:txBody>
      </p:sp>
      <p:sp>
        <p:nvSpPr>
          <p:cNvPr id="9" name="Rectangle 8">
            <a:extLst>
              <a:ext uri="{FF2B5EF4-FFF2-40B4-BE49-F238E27FC236}">
                <a16:creationId xmlns:a16="http://schemas.microsoft.com/office/drawing/2014/main" id="{28F99DF7-835D-4673-B748-CF5A7DC68457}"/>
              </a:ext>
            </a:extLst>
          </p:cNvPr>
          <p:cNvSpPr/>
          <p:nvPr>
            <p:custDataLst>
              <p:tags r:id="rId3"/>
            </p:custDataLst>
          </p:nvPr>
        </p:nvSpPr>
        <p:spPr>
          <a:xfrm>
            <a:off x="773179" y="3450378"/>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Communicateur</a:t>
            </a:r>
          </a:p>
        </p:txBody>
      </p:sp>
      <p:sp>
        <p:nvSpPr>
          <p:cNvPr id="14" name="TextBox 13">
            <a:extLst>
              <a:ext uri="{FF2B5EF4-FFF2-40B4-BE49-F238E27FC236}">
                <a16:creationId xmlns:a16="http://schemas.microsoft.com/office/drawing/2014/main" id="{F7F1E87D-31A2-49AF-8E2B-9FDEFCD9C261}"/>
              </a:ext>
            </a:extLst>
          </p:cNvPr>
          <p:cNvSpPr txBox="1"/>
          <p:nvPr>
            <p:custDataLst>
              <p:tags r:id="rId4"/>
            </p:custDataLst>
          </p:nvPr>
        </p:nvSpPr>
        <p:spPr>
          <a:xfrm>
            <a:off x="773179" y="3756752"/>
            <a:ext cx="3196478" cy="954107"/>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Partager des messages personnalisés avec les membres de votre équipe sur ce qui change et pourquoi.</a:t>
            </a:r>
          </a:p>
        </p:txBody>
      </p:sp>
      <p:sp>
        <p:nvSpPr>
          <p:cNvPr id="10" name="Rectangle 9">
            <a:extLst>
              <a:ext uri="{FF2B5EF4-FFF2-40B4-BE49-F238E27FC236}">
                <a16:creationId xmlns:a16="http://schemas.microsoft.com/office/drawing/2014/main" id="{07FC31D2-801A-49F5-9401-84E5F79C47BE}"/>
              </a:ext>
            </a:extLst>
          </p:cNvPr>
          <p:cNvSpPr/>
          <p:nvPr>
            <p:custDataLst>
              <p:tags r:id="rId5"/>
            </p:custDataLst>
          </p:nvPr>
        </p:nvSpPr>
        <p:spPr>
          <a:xfrm>
            <a:off x="773179" y="496570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Liaison</a:t>
            </a:r>
          </a:p>
        </p:txBody>
      </p:sp>
      <p:sp>
        <p:nvSpPr>
          <p:cNvPr id="17" name="TextBox 16">
            <a:extLst>
              <a:ext uri="{FF2B5EF4-FFF2-40B4-BE49-F238E27FC236}">
                <a16:creationId xmlns:a16="http://schemas.microsoft.com/office/drawing/2014/main" id="{BD8FD75B-32C7-4C68-9C0F-F90DBCC7D84C}"/>
              </a:ext>
            </a:extLst>
          </p:cNvPr>
          <p:cNvSpPr txBox="1"/>
          <p:nvPr>
            <p:custDataLst>
              <p:tags r:id="rId6"/>
            </p:custDataLst>
          </p:nvPr>
        </p:nvSpPr>
        <p:spPr>
          <a:xfrm>
            <a:off x="773179" y="5270500"/>
            <a:ext cx="3196478"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Fournir de la rétroaction à l'équipe de projet et soulever toute préoccupation valable des membres de l'équipe.</a:t>
            </a:r>
          </a:p>
        </p:txBody>
      </p:sp>
      <p:sp>
        <p:nvSpPr>
          <p:cNvPr id="11" name="Rectangle 10">
            <a:extLst>
              <a:ext uri="{FF2B5EF4-FFF2-40B4-BE49-F238E27FC236}">
                <a16:creationId xmlns:a16="http://schemas.microsoft.com/office/drawing/2014/main" id="{5F36255B-0B0F-4718-884A-37815B058BB1}"/>
              </a:ext>
            </a:extLst>
          </p:cNvPr>
          <p:cNvSpPr/>
          <p:nvPr>
            <p:custDataLst>
              <p:tags r:id="rId7"/>
            </p:custDataLst>
          </p:nvPr>
        </p:nvSpPr>
        <p:spPr>
          <a:xfrm>
            <a:off x="4452553" y="3450378"/>
            <a:ext cx="2085956" cy="304800"/>
          </a:xfrm>
          <a:prstGeom prst="rect">
            <a:avLst/>
          </a:prstGeom>
          <a:gradFill>
            <a:gsLst>
              <a:gs pos="51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Avocat</a:t>
            </a:r>
          </a:p>
        </p:txBody>
      </p:sp>
      <p:sp>
        <p:nvSpPr>
          <p:cNvPr id="15" name="TextBox 14">
            <a:extLst>
              <a:ext uri="{FF2B5EF4-FFF2-40B4-BE49-F238E27FC236}">
                <a16:creationId xmlns:a16="http://schemas.microsoft.com/office/drawing/2014/main" id="{AE25B030-740F-4A0C-8352-EB17DCCAE28A}"/>
              </a:ext>
            </a:extLst>
          </p:cNvPr>
          <p:cNvSpPr txBox="1"/>
          <p:nvPr>
            <p:custDataLst>
              <p:tags r:id="rId8"/>
            </p:custDataLst>
          </p:nvPr>
        </p:nvSpPr>
        <p:spPr>
          <a:xfrm>
            <a:off x="4452553" y="3755178"/>
            <a:ext cx="3327103"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Démontrer votre soutien au changement pour aider les autres à s'y rallier.</a:t>
            </a:r>
          </a:p>
        </p:txBody>
      </p:sp>
      <p:sp>
        <p:nvSpPr>
          <p:cNvPr id="12" name="Rectangle 11">
            <a:extLst>
              <a:ext uri="{FF2B5EF4-FFF2-40B4-BE49-F238E27FC236}">
                <a16:creationId xmlns:a16="http://schemas.microsoft.com/office/drawing/2014/main" id="{36AADF42-D6C7-44D7-96A9-D874862F6B57}"/>
              </a:ext>
            </a:extLst>
          </p:cNvPr>
          <p:cNvSpPr/>
          <p:nvPr>
            <p:custDataLst>
              <p:tags r:id="rId9"/>
            </p:custDataLst>
          </p:nvPr>
        </p:nvSpPr>
        <p:spPr>
          <a:xfrm>
            <a:off x="4452552" y="4965700"/>
            <a:ext cx="2965389" cy="304800"/>
          </a:xfrm>
          <a:prstGeom prst="rect">
            <a:avLst/>
          </a:prstGeom>
          <a:gradFill>
            <a:gsLst>
              <a:gs pos="71000">
                <a:schemeClr val="accent1"/>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Gestionnaire de la résistance</a:t>
            </a:r>
          </a:p>
        </p:txBody>
      </p:sp>
      <p:sp>
        <p:nvSpPr>
          <p:cNvPr id="18" name="TextBox 17">
            <a:extLst>
              <a:ext uri="{FF2B5EF4-FFF2-40B4-BE49-F238E27FC236}">
                <a16:creationId xmlns:a16="http://schemas.microsoft.com/office/drawing/2014/main" id="{3EBF9B25-9E49-4624-8C82-B3025D1DAE0B}"/>
              </a:ext>
            </a:extLst>
          </p:cNvPr>
          <p:cNvSpPr txBox="1"/>
          <p:nvPr>
            <p:custDataLst>
              <p:tags r:id="rId10"/>
            </p:custDataLst>
          </p:nvPr>
        </p:nvSpPr>
        <p:spPr>
          <a:xfrm>
            <a:off x="4452553" y="5270500"/>
            <a:ext cx="3196478"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Noter les obstacles à l'adoption, puis gérer la résistance et les rumeurs au fur et à mesure qu'elles se produisent.</a:t>
            </a:r>
          </a:p>
        </p:txBody>
      </p:sp>
      <p:sp>
        <p:nvSpPr>
          <p:cNvPr id="13" name="Rectangle 12">
            <a:extLst>
              <a:ext uri="{FF2B5EF4-FFF2-40B4-BE49-F238E27FC236}">
                <a16:creationId xmlns:a16="http://schemas.microsoft.com/office/drawing/2014/main" id="{B456FA8F-EA34-4812-B5F8-FC4F12F4AAC1}"/>
              </a:ext>
            </a:extLst>
          </p:cNvPr>
          <p:cNvSpPr/>
          <p:nvPr>
            <p:custDataLst>
              <p:tags r:id="rId11"/>
            </p:custDataLst>
          </p:nvPr>
        </p:nvSpPr>
        <p:spPr>
          <a:xfrm>
            <a:off x="8400439" y="3450378"/>
            <a:ext cx="2085956"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Entraîneur</a:t>
            </a:r>
          </a:p>
        </p:txBody>
      </p:sp>
      <p:sp>
        <p:nvSpPr>
          <p:cNvPr id="16" name="TextBox 15">
            <a:extLst>
              <a:ext uri="{FF2B5EF4-FFF2-40B4-BE49-F238E27FC236}">
                <a16:creationId xmlns:a16="http://schemas.microsoft.com/office/drawing/2014/main" id="{6E268FE2-408D-4D74-9643-3004BDDC2A36}"/>
              </a:ext>
            </a:extLst>
          </p:cNvPr>
          <p:cNvSpPr txBox="1"/>
          <p:nvPr>
            <p:custDataLst>
              <p:tags r:id="rId12"/>
            </p:custDataLst>
          </p:nvPr>
        </p:nvSpPr>
        <p:spPr>
          <a:xfrm>
            <a:off x="8400439" y="3761085"/>
            <a:ext cx="3327103"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Sensibiliser les employés au processus de changement ainsi qu’à tous les outils et formations liés au changement.</a:t>
            </a:r>
          </a:p>
        </p:txBody>
      </p:sp>
      <p:sp>
        <p:nvSpPr>
          <p:cNvPr id="19" name="TextBox 18">
            <a:extLst>
              <a:ext uri="{FF2B5EF4-FFF2-40B4-BE49-F238E27FC236}">
                <a16:creationId xmlns:a16="http://schemas.microsoft.com/office/drawing/2014/main" id="{EF8F501D-2ACA-4E02-BB73-676313AF0E75}"/>
              </a:ext>
            </a:extLst>
          </p:cNvPr>
          <p:cNvSpPr txBox="1"/>
          <p:nvPr>
            <p:custDataLst>
              <p:tags r:id="rId13"/>
            </p:custDataLst>
          </p:nvPr>
        </p:nvSpPr>
        <p:spPr>
          <a:xfrm>
            <a:off x="8430555" y="4937815"/>
            <a:ext cx="3166361" cy="1354217"/>
          </a:xfrm>
          <a:prstGeom prst="rect">
            <a:avLst/>
          </a:prstGeom>
          <a:solidFill>
            <a:schemeClr val="accent6">
              <a:lumMod val="60000"/>
              <a:lumOff val="40000"/>
            </a:schemeClr>
          </a:solidFill>
        </p:spPr>
        <p:txBody>
          <a:bodyPr wrap="square" rtlCol="0">
            <a:spAutoFit/>
          </a:bodyPr>
          <a:lstStyle/>
          <a:p>
            <a:pPr>
              <a:spcAft>
                <a:spcPts val="600"/>
              </a:spcAft>
            </a:pPr>
            <a:r>
              <a:rPr lang="fr-CA" sz="1100" dirty="0">
                <a:latin typeface="Arial" panose="020B0604020202020204" pitchFamily="34" charset="0"/>
                <a:cs typeface="Arial" panose="020B0604020202020204" pitchFamily="34" charset="0"/>
              </a:rPr>
              <a:t>Pour rester à l’affût du changement en tant que gestionnaire du personnel, assurez-vous de lire toutes les communications et le matériel du projet, ainsi que d'assister à toutes les séances d'information. </a:t>
            </a:r>
          </a:p>
          <a:p>
            <a:r>
              <a:rPr lang="fr-CA" sz="1100" dirty="0">
                <a:latin typeface="Arial" panose="020B0604020202020204" pitchFamily="34" charset="0"/>
                <a:cs typeface="Arial" panose="020B0604020202020204" pitchFamily="34" charset="0"/>
              </a:rPr>
              <a:t>Plus vous avez d'informations, plus vous pourrez les partager.</a:t>
            </a:r>
          </a:p>
        </p:txBody>
      </p:sp>
      <p:pic>
        <p:nvPicPr>
          <p:cNvPr id="20" name="Graphic 19">
            <a:extLst>
              <a:ext uri="{FF2B5EF4-FFF2-40B4-BE49-F238E27FC236}">
                <a16:creationId xmlns:a16="http://schemas.microsoft.com/office/drawing/2014/main" id="{7FCC107B-1B11-4B36-A22B-1597621685E9}"/>
              </a:ext>
              <a:ext uri="{C183D7F6-B498-43B3-948B-1728B52AA6E4}">
                <adec:decorative xmlns:adec="http://schemas.microsoft.com/office/drawing/2017/decorative" val="1"/>
              </a:ext>
            </a:extLst>
          </p:cNvPr>
          <p:cNvPicPr>
            <a:picLocks noChangeAspect="1"/>
          </p:cNvPicPr>
          <p:nvPr>
            <p:custDataLst>
              <p:tags r:id="rId1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852300" y="4435473"/>
            <a:ext cx="835027" cy="835027"/>
          </a:xfrm>
          <a:prstGeom prst="rect">
            <a:avLst/>
          </a:prstGeom>
        </p:spPr>
      </p:pic>
    </p:spTree>
    <p:extLst>
      <p:ext uri="{BB962C8B-B14F-4D97-AF65-F5344CB8AC3E}">
        <p14:creationId xmlns:p14="http://schemas.microsoft.com/office/powerpoint/2010/main" val="1707177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1D901-0DB1-131C-ECE7-292E7AEBABBB}"/>
              </a:ext>
            </a:extLst>
          </p:cNvPr>
          <p:cNvSpPr>
            <a:spLocks noGrp="1"/>
          </p:cNvSpPr>
          <p:nvPr>
            <p:ph type="title"/>
            <p:custDataLst>
              <p:tags r:id="rId1"/>
            </p:custDataLst>
          </p:nvPr>
        </p:nvSpPr>
        <p:spPr/>
        <p:txBody>
          <a:bodyPr/>
          <a:lstStyle/>
          <a:p>
            <a:r>
              <a:rPr lang="fr-CA" dirty="0"/>
              <a:t>Les avantages de la communication lors d'un changement</a:t>
            </a:r>
          </a:p>
        </p:txBody>
      </p:sp>
      <p:sp>
        <p:nvSpPr>
          <p:cNvPr id="15" name="TextBox 14">
            <a:extLst>
              <a:ext uri="{FF2B5EF4-FFF2-40B4-BE49-F238E27FC236}">
                <a16:creationId xmlns:a16="http://schemas.microsoft.com/office/drawing/2014/main" id="{AD853EB0-D48C-ECE2-9A46-11728F9C378A}"/>
              </a:ext>
            </a:extLst>
          </p:cNvPr>
          <p:cNvSpPr txBox="1"/>
          <p:nvPr>
            <p:custDataLst>
              <p:tags r:id="rId2"/>
            </p:custDataLst>
          </p:nvPr>
        </p:nvSpPr>
        <p:spPr>
          <a:xfrm>
            <a:off x="1181207" y="4300256"/>
            <a:ext cx="2443399" cy="1446550"/>
          </a:xfrm>
          <a:prstGeom prst="rect">
            <a:avLst/>
          </a:prstGeom>
          <a:noFill/>
        </p:spPr>
        <p:txBody>
          <a:bodyPr wrap="square" rtlCol="0">
            <a:spAutoFit/>
          </a:bodyPr>
          <a:lstStyle/>
          <a:p>
            <a:r>
              <a:rPr lang="fr-CA" sz="1400" b="1" dirty="0"/>
              <a:t>Réduire l'incertitude et l'anxiété</a:t>
            </a:r>
          </a:p>
          <a:p>
            <a:r>
              <a:rPr lang="fr-CA" sz="1400" dirty="0"/>
              <a:t>Une communication claire permet de réduire l'incertitude et l'anxiété des employés.</a:t>
            </a:r>
          </a:p>
          <a:p>
            <a:endParaRPr lang="fr-CA" dirty="0"/>
          </a:p>
        </p:txBody>
      </p:sp>
      <p:sp>
        <p:nvSpPr>
          <p:cNvPr id="17" name="TextBox 16">
            <a:extLst>
              <a:ext uri="{FF2B5EF4-FFF2-40B4-BE49-F238E27FC236}">
                <a16:creationId xmlns:a16="http://schemas.microsoft.com/office/drawing/2014/main" id="{985AD11C-EACE-0954-BAFE-2AB525EA7F02}"/>
              </a:ext>
            </a:extLst>
          </p:cNvPr>
          <p:cNvSpPr txBox="1"/>
          <p:nvPr>
            <p:custDataLst>
              <p:tags r:id="rId3"/>
            </p:custDataLst>
          </p:nvPr>
        </p:nvSpPr>
        <p:spPr>
          <a:xfrm>
            <a:off x="4389102" y="4300256"/>
            <a:ext cx="2443399" cy="1169551"/>
          </a:xfrm>
          <a:prstGeom prst="rect">
            <a:avLst/>
          </a:prstGeom>
          <a:noFill/>
        </p:spPr>
        <p:txBody>
          <a:bodyPr wrap="square" rtlCol="0">
            <a:spAutoFit/>
          </a:bodyPr>
          <a:lstStyle/>
          <a:p>
            <a:r>
              <a:rPr lang="fr-CA" sz="1400" b="1" dirty="0"/>
              <a:t>Renforcement de la confiance et de la transparence</a:t>
            </a:r>
          </a:p>
          <a:p>
            <a:r>
              <a:rPr lang="fr-CA" sz="1400" dirty="0"/>
              <a:t>Une communication transparente favorise la confiance et évite les rumeurs.</a:t>
            </a:r>
            <a:endParaRPr lang="fr-CA" dirty="0"/>
          </a:p>
        </p:txBody>
      </p:sp>
      <p:sp>
        <p:nvSpPr>
          <p:cNvPr id="16" name="TextBox 15">
            <a:extLst>
              <a:ext uri="{FF2B5EF4-FFF2-40B4-BE49-F238E27FC236}">
                <a16:creationId xmlns:a16="http://schemas.microsoft.com/office/drawing/2014/main" id="{FA1BB9C4-4EAF-51CE-B1C5-F7681DAF3E8D}"/>
              </a:ext>
            </a:extLst>
          </p:cNvPr>
          <p:cNvSpPr txBox="1"/>
          <p:nvPr>
            <p:custDataLst>
              <p:tags r:id="rId4"/>
            </p:custDataLst>
          </p:nvPr>
        </p:nvSpPr>
        <p:spPr>
          <a:xfrm>
            <a:off x="7523079" y="4300255"/>
            <a:ext cx="2443399" cy="954107"/>
          </a:xfrm>
          <a:prstGeom prst="rect">
            <a:avLst/>
          </a:prstGeom>
          <a:noFill/>
        </p:spPr>
        <p:txBody>
          <a:bodyPr wrap="square" rtlCol="0">
            <a:spAutoFit/>
          </a:bodyPr>
          <a:lstStyle/>
          <a:p>
            <a:r>
              <a:rPr lang="fr-CA" sz="1400" b="1" dirty="0"/>
              <a:t>Engagement et motivation</a:t>
            </a:r>
          </a:p>
          <a:p>
            <a:r>
              <a:rPr lang="fr-CA" sz="1400" dirty="0"/>
              <a:t>Les employés engagés sont plus motivés et plus satisfaits quant à leur travail.</a:t>
            </a:r>
            <a:endParaRPr lang="fr-CA" dirty="0"/>
          </a:p>
        </p:txBody>
      </p:sp>
      <p:grpSp>
        <p:nvGrpSpPr>
          <p:cNvPr id="34" name="Group 33">
            <a:extLst>
              <a:ext uri="{FF2B5EF4-FFF2-40B4-BE49-F238E27FC236}">
                <a16:creationId xmlns:a16="http://schemas.microsoft.com/office/drawing/2014/main" id="{3184D169-4DFB-0DAB-542A-8A228186AD52}"/>
              </a:ext>
              <a:ext uri="{C183D7F6-B498-43B3-948B-1728B52AA6E4}">
                <adec:decorative xmlns:adec="http://schemas.microsoft.com/office/drawing/2017/decorative" val="1"/>
              </a:ext>
            </a:extLst>
          </p:cNvPr>
          <p:cNvGrpSpPr/>
          <p:nvPr>
            <p:custDataLst>
              <p:tags r:id="rId5"/>
            </p:custDataLst>
          </p:nvPr>
        </p:nvGrpSpPr>
        <p:grpSpPr>
          <a:xfrm>
            <a:off x="7843602" y="2092381"/>
            <a:ext cx="1802353" cy="1802353"/>
            <a:chOff x="7898695" y="2080239"/>
            <a:chExt cx="1802353" cy="1802353"/>
          </a:xfrm>
        </p:grpSpPr>
        <p:grpSp>
          <p:nvGrpSpPr>
            <p:cNvPr id="21" name="Group 20">
              <a:extLst>
                <a:ext uri="{FF2B5EF4-FFF2-40B4-BE49-F238E27FC236}">
                  <a16:creationId xmlns:a16="http://schemas.microsoft.com/office/drawing/2014/main" id="{9CEB206E-BDE0-FCA6-0308-926A820A333C}"/>
                </a:ext>
              </a:extLst>
            </p:cNvPr>
            <p:cNvGrpSpPr/>
            <p:nvPr/>
          </p:nvGrpSpPr>
          <p:grpSpPr>
            <a:xfrm>
              <a:off x="7898695" y="2080239"/>
              <a:ext cx="1802353" cy="1802353"/>
              <a:chOff x="4661365" y="2614450"/>
              <a:chExt cx="1671145" cy="1671145"/>
            </a:xfrm>
          </p:grpSpPr>
          <p:sp>
            <p:nvSpPr>
              <p:cNvPr id="22" name="Oval 21">
                <a:extLst>
                  <a:ext uri="{FF2B5EF4-FFF2-40B4-BE49-F238E27FC236}">
                    <a16:creationId xmlns:a16="http://schemas.microsoft.com/office/drawing/2014/main" id="{214C4DC3-8EE0-1713-1ECD-7D5216206F77}"/>
                  </a:ext>
                </a:extLst>
              </p:cNvPr>
              <p:cNvSpPr/>
              <p:nvPr/>
            </p:nvSpPr>
            <p:spPr>
              <a:xfrm>
                <a:off x="4661365" y="2614450"/>
                <a:ext cx="1671145" cy="16711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3" name="Oval 22">
                <a:extLst>
                  <a:ext uri="{FF2B5EF4-FFF2-40B4-BE49-F238E27FC236}">
                    <a16:creationId xmlns:a16="http://schemas.microsoft.com/office/drawing/2014/main" id="{D3F0E52C-5032-CE2B-869B-84F0E4411557}"/>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pic>
          <p:nvPicPr>
            <p:cNvPr id="9" name="Graphic 8" descr="Bar graph with upward trend outline">
              <a:extLst>
                <a:ext uri="{FF2B5EF4-FFF2-40B4-BE49-F238E27FC236}">
                  <a16:creationId xmlns:a16="http://schemas.microsoft.com/office/drawing/2014/main" id="{82B61A1C-BA75-684B-5F20-4133754E146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42671" y="2558353"/>
              <a:ext cx="914400" cy="914400"/>
            </a:xfrm>
            <a:prstGeom prst="rect">
              <a:avLst/>
            </a:prstGeom>
          </p:spPr>
        </p:pic>
      </p:grpSp>
      <p:grpSp>
        <p:nvGrpSpPr>
          <p:cNvPr id="33" name="Group 32">
            <a:extLst>
              <a:ext uri="{FF2B5EF4-FFF2-40B4-BE49-F238E27FC236}">
                <a16:creationId xmlns:a16="http://schemas.microsoft.com/office/drawing/2014/main" id="{D32B64D6-D55C-F97D-0A47-8B1A8F1191DE}"/>
              </a:ext>
              <a:ext uri="{C183D7F6-B498-43B3-948B-1728B52AA6E4}">
                <adec:decorative xmlns:adec="http://schemas.microsoft.com/office/drawing/2017/decorative" val="1"/>
              </a:ext>
            </a:extLst>
          </p:cNvPr>
          <p:cNvGrpSpPr/>
          <p:nvPr>
            <p:custDataLst>
              <p:tags r:id="rId6"/>
            </p:custDataLst>
          </p:nvPr>
        </p:nvGrpSpPr>
        <p:grpSpPr>
          <a:xfrm>
            <a:off x="4709625" y="2080239"/>
            <a:ext cx="1802353" cy="1802353"/>
            <a:chOff x="4727945" y="2080239"/>
            <a:chExt cx="1802353" cy="1802353"/>
          </a:xfrm>
        </p:grpSpPr>
        <p:grpSp>
          <p:nvGrpSpPr>
            <p:cNvPr id="20" name="Group 19">
              <a:extLst>
                <a:ext uri="{FF2B5EF4-FFF2-40B4-BE49-F238E27FC236}">
                  <a16:creationId xmlns:a16="http://schemas.microsoft.com/office/drawing/2014/main" id="{42FE8978-596A-7B7B-8847-9B57432797B5}"/>
                </a:ext>
              </a:extLst>
            </p:cNvPr>
            <p:cNvGrpSpPr/>
            <p:nvPr/>
          </p:nvGrpSpPr>
          <p:grpSpPr>
            <a:xfrm>
              <a:off x="4727945" y="2080239"/>
              <a:ext cx="1802353" cy="1802353"/>
              <a:chOff x="4661365" y="2614450"/>
              <a:chExt cx="1671145" cy="1671145"/>
            </a:xfrm>
          </p:grpSpPr>
          <p:sp>
            <p:nvSpPr>
              <p:cNvPr id="13" name="Oval 12">
                <a:extLst>
                  <a:ext uri="{FF2B5EF4-FFF2-40B4-BE49-F238E27FC236}">
                    <a16:creationId xmlns:a16="http://schemas.microsoft.com/office/drawing/2014/main" id="{9EB1ECE3-C844-5F47-9598-822C701DEF1D}"/>
                  </a:ext>
                </a:extLst>
              </p:cNvPr>
              <p:cNvSpPr/>
              <p:nvPr/>
            </p:nvSpPr>
            <p:spPr>
              <a:xfrm>
                <a:off x="4661365" y="2614450"/>
                <a:ext cx="1671145" cy="167114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Oval 17">
                <a:extLst>
                  <a:ext uri="{FF2B5EF4-FFF2-40B4-BE49-F238E27FC236}">
                    <a16:creationId xmlns:a16="http://schemas.microsoft.com/office/drawing/2014/main" id="{519C1F80-3D17-FC64-9317-719624DABFD5}"/>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pic>
          <p:nvPicPr>
            <p:cNvPr id="6" name="Graphic 5" descr="Handshake outline">
              <a:extLst>
                <a:ext uri="{FF2B5EF4-FFF2-40B4-BE49-F238E27FC236}">
                  <a16:creationId xmlns:a16="http://schemas.microsoft.com/office/drawing/2014/main" id="{7E7A231A-21DE-6090-B994-84AEEA75D46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85144" y="2590928"/>
              <a:ext cx="914400" cy="914400"/>
            </a:xfrm>
            <a:prstGeom prst="rect">
              <a:avLst/>
            </a:prstGeom>
          </p:spPr>
        </p:pic>
      </p:grpSp>
      <p:grpSp>
        <p:nvGrpSpPr>
          <p:cNvPr id="32" name="Group 31">
            <a:extLst>
              <a:ext uri="{FF2B5EF4-FFF2-40B4-BE49-F238E27FC236}">
                <a16:creationId xmlns:a16="http://schemas.microsoft.com/office/drawing/2014/main" id="{FCDDE537-21B4-EDB5-806A-B7402C4B3D71}"/>
              </a:ext>
              <a:ext uri="{C183D7F6-B498-43B3-948B-1728B52AA6E4}">
                <adec:decorative xmlns:adec="http://schemas.microsoft.com/office/drawing/2017/decorative" val="1"/>
              </a:ext>
            </a:extLst>
          </p:cNvPr>
          <p:cNvGrpSpPr/>
          <p:nvPr>
            <p:custDataLst>
              <p:tags r:id="rId7"/>
            </p:custDataLst>
          </p:nvPr>
        </p:nvGrpSpPr>
        <p:grpSpPr>
          <a:xfrm>
            <a:off x="1501730" y="2080238"/>
            <a:ext cx="1802353" cy="1802353"/>
            <a:chOff x="1471425" y="2080239"/>
            <a:chExt cx="1802353" cy="1802353"/>
          </a:xfrm>
        </p:grpSpPr>
        <p:grpSp>
          <p:nvGrpSpPr>
            <p:cNvPr id="29" name="Group 28">
              <a:extLst>
                <a:ext uri="{FF2B5EF4-FFF2-40B4-BE49-F238E27FC236}">
                  <a16:creationId xmlns:a16="http://schemas.microsoft.com/office/drawing/2014/main" id="{9ED4216C-2821-F755-708C-AF52C3DB31F4}"/>
                </a:ext>
              </a:extLst>
            </p:cNvPr>
            <p:cNvGrpSpPr/>
            <p:nvPr/>
          </p:nvGrpSpPr>
          <p:grpSpPr>
            <a:xfrm>
              <a:off x="1471425" y="2080239"/>
              <a:ext cx="1802353" cy="1802353"/>
              <a:chOff x="4661365" y="2614450"/>
              <a:chExt cx="1671145" cy="1671145"/>
            </a:xfrm>
          </p:grpSpPr>
          <p:sp>
            <p:nvSpPr>
              <p:cNvPr id="30" name="Oval 29">
                <a:extLst>
                  <a:ext uri="{FF2B5EF4-FFF2-40B4-BE49-F238E27FC236}">
                    <a16:creationId xmlns:a16="http://schemas.microsoft.com/office/drawing/2014/main" id="{EED4FC84-A7DE-C5A3-E291-F6489C629047}"/>
                  </a:ext>
                </a:extLst>
              </p:cNvPr>
              <p:cNvSpPr/>
              <p:nvPr/>
            </p:nvSpPr>
            <p:spPr>
              <a:xfrm>
                <a:off x="4661365" y="2614450"/>
                <a:ext cx="1671145" cy="167114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1" name="Oval 30">
                <a:extLst>
                  <a:ext uri="{FF2B5EF4-FFF2-40B4-BE49-F238E27FC236}">
                    <a16:creationId xmlns:a16="http://schemas.microsoft.com/office/drawing/2014/main" id="{FA2063E3-112B-BBA1-71C5-F098159C3310}"/>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nvGrpSpPr>
            <p:cNvPr id="28" name="Group 27">
              <a:extLst>
                <a:ext uri="{FF2B5EF4-FFF2-40B4-BE49-F238E27FC236}">
                  <a16:creationId xmlns:a16="http://schemas.microsoft.com/office/drawing/2014/main" id="{2811A721-5191-5837-F564-B21A2E093569}"/>
                </a:ext>
              </a:extLst>
            </p:cNvPr>
            <p:cNvGrpSpPr/>
            <p:nvPr/>
          </p:nvGrpSpPr>
          <p:grpSpPr>
            <a:xfrm>
              <a:off x="1763771" y="2437287"/>
              <a:ext cx="942472" cy="1071910"/>
              <a:chOff x="1345469" y="2523245"/>
              <a:chExt cx="1367023" cy="1554769"/>
            </a:xfrm>
          </p:grpSpPr>
          <p:pic>
            <p:nvPicPr>
              <p:cNvPr id="11" name="Graphic 10" descr="Lightning bolt outline">
                <a:extLst>
                  <a:ext uri="{FF2B5EF4-FFF2-40B4-BE49-F238E27FC236}">
                    <a16:creationId xmlns:a16="http://schemas.microsoft.com/office/drawing/2014/main" id="{3D9158E2-3983-3312-F49D-910E7D8D31E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5469" y="2523245"/>
                <a:ext cx="1367023" cy="1367023"/>
              </a:xfrm>
              <a:prstGeom prst="rect">
                <a:avLst/>
              </a:prstGeom>
            </p:spPr>
          </p:pic>
          <p:sp>
            <p:nvSpPr>
              <p:cNvPr id="27" name="Arrow: Down 26">
                <a:extLst>
                  <a:ext uri="{FF2B5EF4-FFF2-40B4-BE49-F238E27FC236}">
                    <a16:creationId xmlns:a16="http://schemas.microsoft.com/office/drawing/2014/main" id="{0001B141-D9BB-8017-29EF-053F8B6D9C13}"/>
                  </a:ext>
                </a:extLst>
              </p:cNvPr>
              <p:cNvSpPr/>
              <p:nvPr/>
            </p:nvSpPr>
            <p:spPr>
              <a:xfrm>
                <a:off x="2066092" y="3320081"/>
                <a:ext cx="556068" cy="757933"/>
              </a:xfrm>
              <a:prstGeom prst="downArrow">
                <a:avLst/>
              </a:prstGeom>
              <a:no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spTree>
    <p:extLst>
      <p:ext uri="{BB962C8B-B14F-4D97-AF65-F5344CB8AC3E}">
        <p14:creationId xmlns:p14="http://schemas.microsoft.com/office/powerpoint/2010/main" val="3612331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E6DA8-6FD6-77EF-D7A3-C3773CB1AD0F}"/>
              </a:ext>
            </a:extLst>
          </p:cNvPr>
          <p:cNvSpPr>
            <a:spLocks noGrp="1"/>
          </p:cNvSpPr>
          <p:nvPr>
            <p:ph type="title"/>
            <p:custDataLst>
              <p:tags r:id="rId1"/>
            </p:custDataLst>
          </p:nvPr>
        </p:nvSpPr>
        <p:spPr/>
        <p:txBody>
          <a:bodyPr>
            <a:normAutofit/>
          </a:bodyPr>
          <a:lstStyle/>
          <a:p>
            <a:r>
              <a:rPr lang="en-CA" dirty="0"/>
              <a:t>Vos employés veulent que vous leur parliez du changement</a:t>
            </a:r>
          </a:p>
        </p:txBody>
      </p:sp>
      <p:graphicFrame>
        <p:nvGraphicFramePr>
          <p:cNvPr id="5" name="Chart 10" descr="Graph depicting preferred senders of organizational messages about the change and personal messages about the change. For organizational messages, the CEO or Executive Manager are the most preferred senders. For personal messages, the employee’s direct supervisor is the preferred sender.">
            <a:extLst>
              <a:ext uri="{FF2B5EF4-FFF2-40B4-BE49-F238E27FC236}">
                <a16:creationId xmlns:a16="http://schemas.microsoft.com/office/drawing/2014/main" id="{82C64DD2-940E-9347-6B06-87B817EEE1F8}"/>
              </a:ext>
            </a:extLst>
          </p:cNvPr>
          <p:cNvGraphicFramePr/>
          <p:nvPr>
            <p:extLst>
              <p:ext uri="{D42A27DB-BD31-4B8C-83A1-F6EECF244321}">
                <p14:modId xmlns:p14="http://schemas.microsoft.com/office/powerpoint/2010/main" val="3021391051"/>
              </p:ext>
            </p:extLst>
          </p:nvPr>
        </p:nvGraphicFramePr>
        <p:xfrm>
          <a:off x="100841" y="1174668"/>
          <a:ext cx="11582400" cy="5599731"/>
        </p:xfrm>
        <a:graphic>
          <a:graphicData uri="http://schemas.openxmlformats.org/drawingml/2006/chart">
            <c:chart xmlns:c="http://schemas.openxmlformats.org/drawingml/2006/chart" xmlns:r="http://schemas.openxmlformats.org/officeDocument/2006/relationships" r:id="rId4"/>
          </a:graphicData>
        </a:graphic>
      </p:graphicFrame>
      <p:sp>
        <p:nvSpPr>
          <p:cNvPr id="6" name="Callout: Line with Border and Accent Bar 25">
            <a:extLst>
              <a:ext uri="{FF2B5EF4-FFF2-40B4-BE49-F238E27FC236}">
                <a16:creationId xmlns:a16="http://schemas.microsoft.com/office/drawing/2014/main" id="{A0A0C70D-0C39-E085-E64E-3940537E37C0}"/>
              </a:ext>
            </a:extLst>
          </p:cNvPr>
          <p:cNvSpPr/>
          <p:nvPr/>
        </p:nvSpPr>
        <p:spPr>
          <a:xfrm>
            <a:off x="1894559" y="1591495"/>
            <a:ext cx="2743200" cy="1304389"/>
          </a:xfrm>
          <a:prstGeom prst="accentBorderCallout1">
            <a:avLst>
              <a:gd name="adj1" fmla="val 94539"/>
              <a:gd name="adj2" fmla="val -4335"/>
              <a:gd name="adj3" fmla="val 94456"/>
              <a:gd name="adj4" fmla="val -14782"/>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dirty="0">
                <a:ln>
                  <a:noFill/>
                </a:ln>
                <a:solidFill>
                  <a:srgbClr val="FFFFFF"/>
                </a:solidFill>
                <a:effectLst/>
                <a:uLnTx/>
                <a:uFillTx/>
                <a:latin typeface="Calibri"/>
                <a:ea typeface="+mn-ea"/>
                <a:cs typeface="+mn-cs"/>
              </a:rPr>
              <a:t>Les dirigeants d’entreprise sont les émetteurs de prédilection des messages relatifs à l’organisation</a:t>
            </a:r>
          </a:p>
        </p:txBody>
      </p:sp>
      <p:cxnSp>
        <p:nvCxnSpPr>
          <p:cNvPr id="7" name="Straight Connector 13">
            <a:extLst>
              <a:ext uri="{FF2B5EF4-FFF2-40B4-BE49-F238E27FC236}">
                <a16:creationId xmlns:a16="http://schemas.microsoft.com/office/drawing/2014/main" id="{3F77FB49-4117-5341-FB77-EC9AF464183A}"/>
              </a:ext>
              <a:ext uri="{C183D7F6-B498-43B3-948B-1728B52AA6E4}">
                <adec:decorative xmlns:adec="http://schemas.microsoft.com/office/drawing/2017/decorative" val="1"/>
              </a:ext>
            </a:extLst>
          </p:cNvPr>
          <p:cNvCxnSpPr>
            <a:cxnSpLocks/>
          </p:cNvCxnSpPr>
          <p:nvPr/>
        </p:nvCxnSpPr>
        <p:spPr>
          <a:xfrm>
            <a:off x="1856180" y="2975961"/>
            <a:ext cx="2781579"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 name="Straight Connector 14">
            <a:extLst>
              <a:ext uri="{FF2B5EF4-FFF2-40B4-BE49-F238E27FC236}">
                <a16:creationId xmlns:a16="http://schemas.microsoft.com/office/drawing/2014/main" id="{DCBCC3E0-C91F-4F40-12A5-178EC212D0EF}"/>
              </a:ext>
              <a:ext uri="{C183D7F6-B498-43B3-948B-1728B52AA6E4}">
                <adec:decorative xmlns:adec="http://schemas.microsoft.com/office/drawing/2017/decorative" val="1"/>
              </a:ext>
            </a:extLst>
          </p:cNvPr>
          <p:cNvCxnSpPr>
            <a:cxnSpLocks/>
          </p:cNvCxnSpPr>
          <p:nvPr/>
        </p:nvCxnSpPr>
        <p:spPr>
          <a:xfrm>
            <a:off x="2268235" y="2975961"/>
            <a:ext cx="0" cy="11176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9" name="Group 15" descr="50% of respondents preferred business messages to come from the CEO or President.">
            <a:extLst>
              <a:ext uri="{FF2B5EF4-FFF2-40B4-BE49-F238E27FC236}">
                <a16:creationId xmlns:a16="http://schemas.microsoft.com/office/drawing/2014/main" id="{A551531B-C9DC-9797-9325-F15A270D2836}"/>
              </a:ext>
            </a:extLst>
          </p:cNvPr>
          <p:cNvGrpSpPr/>
          <p:nvPr/>
        </p:nvGrpSpPr>
        <p:grpSpPr>
          <a:xfrm>
            <a:off x="1172064" y="2655819"/>
            <a:ext cx="489236" cy="379252"/>
            <a:chOff x="2201122" y="2606687"/>
            <a:chExt cx="489236" cy="379252"/>
          </a:xfrm>
        </p:grpSpPr>
        <p:sp>
          <p:nvSpPr>
            <p:cNvPr id="10" name="Oval 16">
              <a:extLst>
                <a:ext uri="{FF2B5EF4-FFF2-40B4-BE49-F238E27FC236}">
                  <a16:creationId xmlns:a16="http://schemas.microsoft.com/office/drawing/2014/main" id="{D9718FA7-E79D-B64F-1A91-41C2483B5525}"/>
                </a:ext>
              </a:extLst>
            </p:cNvPr>
            <p:cNvSpPr/>
            <p:nvPr/>
          </p:nvSpPr>
          <p:spPr>
            <a:xfrm>
              <a:off x="2244154" y="2606687"/>
              <a:ext cx="384048" cy="379252"/>
            </a:xfrm>
            <a:prstGeom prst="ellipse">
              <a:avLst/>
            </a:prstGeom>
            <a:solidFill>
              <a:srgbClr val="015C67"/>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TextBox 17">
              <a:extLst>
                <a:ext uri="{FF2B5EF4-FFF2-40B4-BE49-F238E27FC236}">
                  <a16:creationId xmlns:a16="http://schemas.microsoft.com/office/drawing/2014/main" id="{110AE1A2-BAAA-B9AA-68AF-EEF2752AB375}"/>
                </a:ext>
              </a:extLst>
            </p:cNvPr>
            <p:cNvSpPr txBox="1"/>
            <p:nvPr/>
          </p:nvSpPr>
          <p:spPr>
            <a:xfrm>
              <a:off x="2201122" y="2647827"/>
              <a:ext cx="489236"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Calibri"/>
                </a:rPr>
                <a:t>37 </a:t>
              </a:r>
              <a:r>
                <a:rPr kumimoji="0" lang="en-US" sz="1200" b="1" i="0" u="none" strike="noStrike" kern="1200" cap="none" spc="0" normalizeH="0" baseline="0" noProof="0" dirty="0">
                  <a:ln>
                    <a:noFill/>
                  </a:ln>
                  <a:solidFill>
                    <a:srgbClr val="FFFFFF"/>
                  </a:solidFill>
                  <a:effectLst/>
                  <a:uLnTx/>
                  <a:uFillTx/>
                  <a:latin typeface="Calibri"/>
                  <a:ea typeface="+mn-ea"/>
                  <a:cs typeface="+mn-cs"/>
                </a:rPr>
                <a:t>%</a:t>
              </a:r>
            </a:p>
          </p:txBody>
        </p:sp>
      </p:grpSp>
      <p:grpSp>
        <p:nvGrpSpPr>
          <p:cNvPr id="12" name="Group 18" descr="25% of respondents preferred business messages to come from an Executive Manager.">
            <a:extLst>
              <a:ext uri="{FF2B5EF4-FFF2-40B4-BE49-F238E27FC236}">
                <a16:creationId xmlns:a16="http://schemas.microsoft.com/office/drawing/2014/main" id="{8D962B42-4D9D-36B7-BA2D-E76964244D72}"/>
              </a:ext>
            </a:extLst>
          </p:cNvPr>
          <p:cNvGrpSpPr/>
          <p:nvPr/>
        </p:nvGrpSpPr>
        <p:grpSpPr>
          <a:xfrm>
            <a:off x="2039850" y="3011115"/>
            <a:ext cx="489236" cy="379252"/>
            <a:chOff x="2838193" y="3333799"/>
            <a:chExt cx="489236" cy="379252"/>
          </a:xfrm>
        </p:grpSpPr>
        <p:sp>
          <p:nvSpPr>
            <p:cNvPr id="13" name="Oval 19">
              <a:extLst>
                <a:ext uri="{FF2B5EF4-FFF2-40B4-BE49-F238E27FC236}">
                  <a16:creationId xmlns:a16="http://schemas.microsoft.com/office/drawing/2014/main" id="{C08C6E6D-ED22-FBF9-551F-A4701740340B}"/>
                </a:ext>
              </a:extLst>
            </p:cNvPr>
            <p:cNvSpPr/>
            <p:nvPr/>
          </p:nvSpPr>
          <p:spPr>
            <a:xfrm>
              <a:off x="2883196" y="3333799"/>
              <a:ext cx="384048" cy="379252"/>
            </a:xfrm>
            <a:prstGeom prst="ellipse">
              <a:avLst/>
            </a:prstGeom>
            <a:solidFill>
              <a:srgbClr val="015C67"/>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TextBox 28">
              <a:extLst>
                <a:ext uri="{FF2B5EF4-FFF2-40B4-BE49-F238E27FC236}">
                  <a16:creationId xmlns:a16="http://schemas.microsoft.com/office/drawing/2014/main" id="{2DBF7E22-7E9B-FFF0-795E-772630801C5B}"/>
                </a:ext>
              </a:extLst>
            </p:cNvPr>
            <p:cNvSpPr txBox="1"/>
            <p:nvPr/>
          </p:nvSpPr>
          <p:spPr>
            <a:xfrm>
              <a:off x="2838193" y="3375875"/>
              <a:ext cx="489236"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24 %</a:t>
              </a:r>
            </a:p>
          </p:txBody>
        </p:sp>
      </p:grpSp>
      <p:sp>
        <p:nvSpPr>
          <p:cNvPr id="15" name="Callout: Line with Border and Accent Bar 24">
            <a:extLst>
              <a:ext uri="{FF2B5EF4-FFF2-40B4-BE49-F238E27FC236}">
                <a16:creationId xmlns:a16="http://schemas.microsoft.com/office/drawing/2014/main" id="{52453C60-3CFD-31A6-AA97-0CD1A26A7B86}"/>
              </a:ext>
            </a:extLst>
          </p:cNvPr>
          <p:cNvSpPr/>
          <p:nvPr/>
        </p:nvSpPr>
        <p:spPr>
          <a:xfrm>
            <a:off x="5654220" y="1939376"/>
            <a:ext cx="2743200" cy="1304389"/>
          </a:xfrm>
          <a:prstGeom prst="accentBorderCallout1">
            <a:avLst>
              <a:gd name="adj1" fmla="val 22011"/>
              <a:gd name="adj2" fmla="val -3764"/>
              <a:gd name="adj3" fmla="val 22416"/>
              <a:gd name="adj4" fmla="val -16472"/>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fr-FR" sz="1800" spc="-10" dirty="0">
                <a:solidFill>
                  <a:srgbClr val="FFFFFF"/>
                </a:solidFill>
                <a:ea typeface="Calibri"/>
                <a:cs typeface="Calibri"/>
              </a:rPr>
              <a:t>Les responsables d’équipes sont les émetteurs de prédilection des messages sur l’impact personnel</a:t>
            </a:r>
            <a:endParaRPr lang="fr-FR" sz="1800" spc="-10" dirty="0">
              <a:solidFill>
                <a:srgbClr val="FFFFFF"/>
              </a:solidFill>
              <a:latin typeface="Calibri"/>
              <a:ea typeface="Calibri"/>
              <a:cs typeface="Calibri"/>
            </a:endParaRPr>
          </a:p>
        </p:txBody>
      </p:sp>
      <p:grpSp>
        <p:nvGrpSpPr>
          <p:cNvPr id="16" name="Group 35" descr="70% 50% of respondents preferred personal messages to come from the employee's direct manager.">
            <a:extLst>
              <a:ext uri="{FF2B5EF4-FFF2-40B4-BE49-F238E27FC236}">
                <a16:creationId xmlns:a16="http://schemas.microsoft.com/office/drawing/2014/main" id="{9219947C-15B5-4467-B8DE-0969EE4DB750}"/>
              </a:ext>
            </a:extLst>
          </p:cNvPr>
          <p:cNvGrpSpPr/>
          <p:nvPr/>
        </p:nvGrpSpPr>
        <p:grpSpPr>
          <a:xfrm>
            <a:off x="4982484" y="2043496"/>
            <a:ext cx="489236" cy="379252"/>
            <a:chOff x="5144914" y="1595765"/>
            <a:chExt cx="489236" cy="379252"/>
          </a:xfrm>
        </p:grpSpPr>
        <p:sp>
          <p:nvSpPr>
            <p:cNvPr id="17" name="Oval 36">
              <a:extLst>
                <a:ext uri="{FF2B5EF4-FFF2-40B4-BE49-F238E27FC236}">
                  <a16:creationId xmlns:a16="http://schemas.microsoft.com/office/drawing/2014/main" id="{C1988400-19FA-C648-82CC-AAA2C4800208}"/>
                </a:ext>
              </a:extLst>
            </p:cNvPr>
            <p:cNvSpPr>
              <a:spLocks/>
            </p:cNvSpPr>
            <p:nvPr/>
          </p:nvSpPr>
          <p:spPr>
            <a:xfrm>
              <a:off x="5190772" y="1595765"/>
              <a:ext cx="384048" cy="379252"/>
            </a:xfrm>
            <a:prstGeom prst="ellipse">
              <a:avLst/>
            </a:prstGeom>
            <a:solidFill>
              <a:srgbClr val="015C67"/>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8" name="TextBox 37">
              <a:extLst>
                <a:ext uri="{FF2B5EF4-FFF2-40B4-BE49-F238E27FC236}">
                  <a16:creationId xmlns:a16="http://schemas.microsoft.com/office/drawing/2014/main" id="{3B25F224-499E-5DC3-1CF3-A9D5D37A33F9}"/>
                </a:ext>
              </a:extLst>
            </p:cNvPr>
            <p:cNvSpPr txBox="1"/>
            <p:nvPr/>
          </p:nvSpPr>
          <p:spPr>
            <a:xfrm>
              <a:off x="5144914" y="1639116"/>
              <a:ext cx="489236"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Calibri"/>
                </a:rPr>
                <a:t>58 </a:t>
              </a:r>
              <a:r>
                <a:rPr kumimoji="0" lang="en-US" sz="1200" b="1" i="0" u="none" strike="noStrike" kern="1200" cap="none" spc="0" normalizeH="0" baseline="0" noProof="0" dirty="0">
                  <a:ln>
                    <a:noFill/>
                  </a:ln>
                  <a:solidFill>
                    <a:srgbClr val="FFFFFF"/>
                  </a:solidFill>
                  <a:effectLst/>
                  <a:uLnTx/>
                  <a:uFillTx/>
                  <a:latin typeface="Calibri"/>
                  <a:ea typeface="+mn-ea"/>
                  <a:cs typeface="+mn-cs"/>
                </a:rPr>
                <a:t>%</a:t>
              </a:r>
            </a:p>
          </p:txBody>
        </p:sp>
      </p:grpSp>
      <p:sp>
        <p:nvSpPr>
          <p:cNvPr id="19" name="Rectangle 18">
            <a:extLst>
              <a:ext uri="{FF2B5EF4-FFF2-40B4-BE49-F238E27FC236}">
                <a16:creationId xmlns:a16="http://schemas.microsoft.com/office/drawing/2014/main" id="{468B36DD-4AFE-0606-0419-14292AC17A82}"/>
              </a:ext>
            </a:extLst>
          </p:cNvPr>
          <p:cNvSpPr/>
          <p:nvPr/>
        </p:nvSpPr>
        <p:spPr>
          <a:xfrm>
            <a:off x="7943998" y="5894206"/>
            <a:ext cx="5257800" cy="250710"/>
          </a:xfrm>
          <a:prstGeom prst="rect">
            <a:avLst/>
          </a:prstGeom>
        </p:spPr>
        <p:txBody>
          <a:bodyPr wrap="square">
            <a:spAutoFit/>
          </a:bodyPr>
          <a:lstStyle/>
          <a:p>
            <a:pPr lvl="0" algn="ctr" defTabSz="914400">
              <a:lnSpc>
                <a:spcPct val="85000"/>
              </a:lnSpc>
              <a:buClr>
                <a:srgbClr val="342A86"/>
              </a:buClr>
              <a:defRPr/>
            </a:pPr>
            <a:r>
              <a:rPr lang="it-IT" sz="1200" dirty="0"/>
              <a:t>© Prosci Inc., Prosci Research Hub</a:t>
            </a:r>
            <a:endParaRPr kumimoji="0" lang="en-US" sz="1200" b="0" i="1" u="none" strike="noStrike" kern="1200" cap="none" spc="0" normalizeH="0" baseline="0" noProof="0" dirty="0">
              <a:ln>
                <a:noFill/>
              </a:ln>
              <a:effectLst/>
              <a:uLnTx/>
              <a:uFillTx/>
              <a:latin typeface="Calibri"/>
            </a:endParaRPr>
          </a:p>
        </p:txBody>
      </p:sp>
    </p:spTree>
    <p:extLst>
      <p:ext uri="{BB962C8B-B14F-4D97-AF65-F5344CB8AC3E}">
        <p14:creationId xmlns:p14="http://schemas.microsoft.com/office/powerpoint/2010/main" val="3215160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9BAA67-97F2-D3FF-5402-ADC4AA8D0943}"/>
              </a:ext>
            </a:extLst>
          </p:cNvPr>
          <p:cNvSpPr>
            <a:spLocks noGrp="1"/>
          </p:cNvSpPr>
          <p:nvPr>
            <p:ph type="title"/>
            <p:custDataLst>
              <p:tags r:id="rId1"/>
            </p:custDataLst>
          </p:nvPr>
        </p:nvSpPr>
        <p:spPr/>
        <p:txBody>
          <a:bodyPr>
            <a:normAutofit/>
          </a:bodyPr>
          <a:lstStyle/>
          <a:p>
            <a:r>
              <a:rPr lang="en-CA" dirty="0"/>
              <a:t>Défendre et montrer l'exemple</a:t>
            </a:r>
          </a:p>
        </p:txBody>
      </p:sp>
      <p:sp>
        <p:nvSpPr>
          <p:cNvPr id="2" name="Content Placeholder 1">
            <a:extLst>
              <a:ext uri="{FF2B5EF4-FFF2-40B4-BE49-F238E27FC236}">
                <a16:creationId xmlns:a16="http://schemas.microsoft.com/office/drawing/2014/main" id="{21B46FA5-33EE-8DB6-0B99-423F3FBF7201}"/>
              </a:ext>
            </a:extLst>
          </p:cNvPr>
          <p:cNvSpPr>
            <a:spLocks noGrp="1"/>
          </p:cNvSpPr>
          <p:nvPr>
            <p:ph idx="1"/>
            <p:custDataLst>
              <p:tags r:id="rId2"/>
            </p:custDataLst>
          </p:nvPr>
        </p:nvSpPr>
        <p:spPr>
          <a:xfrm>
            <a:off x="538160" y="1657350"/>
            <a:ext cx="5481639" cy="4457700"/>
          </a:xfrm>
        </p:spPr>
        <p:txBody>
          <a:bodyPr>
            <a:normAutofit/>
          </a:bodyPr>
          <a:lstStyle/>
          <a:p>
            <a:r>
              <a:rPr lang="fr-CA" sz="1800" b="0" dirty="0">
                <a:latin typeface="+mn-lt"/>
              </a:rPr>
              <a:t>Les actes en disent plus que les mots. L'approche que vous adoptez pour vous engager dans le nouveau milieu de travail est la communication la plus importante avec vos employés.   </a:t>
            </a:r>
          </a:p>
          <a:p>
            <a:r>
              <a:rPr lang="fr-CA" sz="1800" b="0" dirty="0">
                <a:latin typeface="+mn-lt"/>
              </a:rPr>
              <a:t>Une fois que vous avez déterminé comment vous souhaitez vous engager dans le nouveau milieu de travail, veillez à donner l'exemple. Respectez les règles convenues en matière d'étiquette en milieu de travail. </a:t>
            </a:r>
          </a:p>
          <a:p>
            <a:r>
              <a:rPr lang="fr-CA" sz="1800" b="0" dirty="0">
                <a:latin typeface="+mn-lt"/>
              </a:rPr>
              <a:t>N'ignorez pas le changement. Affrontez-le directement et prenez-le en charge pour vous assurer que votre équipe peut relever les défis qui se présentent à elle. </a:t>
            </a:r>
          </a:p>
        </p:txBody>
      </p:sp>
      <p:grpSp>
        <p:nvGrpSpPr>
          <p:cNvPr id="3" name="Group 2">
            <a:extLst>
              <a:ext uri="{FF2B5EF4-FFF2-40B4-BE49-F238E27FC236}">
                <a16:creationId xmlns:a16="http://schemas.microsoft.com/office/drawing/2014/main" id="{A8AAE2BE-9D87-6C05-D744-507576E86D64}"/>
              </a:ext>
              <a:ext uri="{C183D7F6-B498-43B3-948B-1728B52AA6E4}">
                <adec:decorative xmlns:adec="http://schemas.microsoft.com/office/drawing/2017/decorative" val="1"/>
              </a:ext>
            </a:extLst>
          </p:cNvPr>
          <p:cNvGrpSpPr/>
          <p:nvPr>
            <p:custDataLst>
              <p:tags r:id="rId3"/>
            </p:custDataLst>
          </p:nvPr>
        </p:nvGrpSpPr>
        <p:grpSpPr>
          <a:xfrm>
            <a:off x="7241629" y="1657350"/>
            <a:ext cx="2617076" cy="2617076"/>
            <a:chOff x="7241629" y="1657350"/>
            <a:chExt cx="2617076" cy="2617076"/>
          </a:xfrm>
        </p:grpSpPr>
        <p:sp>
          <p:nvSpPr>
            <p:cNvPr id="10" name="Oval 9">
              <a:extLst>
                <a:ext uri="{FF2B5EF4-FFF2-40B4-BE49-F238E27FC236}">
                  <a16:creationId xmlns:a16="http://schemas.microsoft.com/office/drawing/2014/main" id="{C3A2014D-34E6-EADE-3B67-9D3B1D72CB05}"/>
                </a:ext>
                <a:ext uri="{C183D7F6-B498-43B3-948B-1728B52AA6E4}">
                  <adec:decorative xmlns:adec="http://schemas.microsoft.com/office/drawing/2017/decorative" val="1"/>
                </a:ext>
              </a:extLst>
            </p:cNvPr>
            <p:cNvSpPr/>
            <p:nvPr/>
          </p:nvSpPr>
          <p:spPr>
            <a:xfrm>
              <a:off x="7241629" y="1657350"/>
              <a:ext cx="2617076" cy="261707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CA"/>
            </a:p>
          </p:txBody>
        </p:sp>
        <p:pic>
          <p:nvPicPr>
            <p:cNvPr id="5" name="Graphic 4" descr="Partial sun with solid fill">
              <a:extLst>
                <a:ext uri="{FF2B5EF4-FFF2-40B4-BE49-F238E27FC236}">
                  <a16:creationId xmlns:a16="http://schemas.microsoft.com/office/drawing/2014/main" id="{7A55A80B-D182-7F06-3125-CDD777AC00A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0167" y="1927993"/>
              <a:ext cx="740980" cy="740980"/>
            </a:xfrm>
            <a:prstGeom prst="rect">
              <a:avLst/>
            </a:prstGeom>
          </p:spPr>
        </p:pic>
        <p:pic>
          <p:nvPicPr>
            <p:cNvPr id="9" name="Graphic 8" descr="Hike with solid fill">
              <a:extLst>
                <a:ext uri="{FF2B5EF4-FFF2-40B4-BE49-F238E27FC236}">
                  <a16:creationId xmlns:a16="http://schemas.microsoft.com/office/drawing/2014/main" id="{E23033A3-9F85-7144-B0B3-5BF3BC86FB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90235" y="2668973"/>
              <a:ext cx="1395249" cy="1395249"/>
            </a:xfrm>
            <a:prstGeom prst="rect">
              <a:avLst/>
            </a:prstGeom>
          </p:spPr>
        </p:pic>
      </p:grpSp>
    </p:spTree>
    <p:extLst>
      <p:ext uri="{BB962C8B-B14F-4D97-AF65-F5344CB8AC3E}">
        <p14:creationId xmlns:p14="http://schemas.microsoft.com/office/powerpoint/2010/main" val="2933910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002CE-8EF1-DDFD-24EA-6F2570759FCC}"/>
              </a:ext>
            </a:extLst>
          </p:cNvPr>
          <p:cNvSpPr>
            <a:spLocks noGrp="1"/>
          </p:cNvSpPr>
          <p:nvPr>
            <p:ph type="title"/>
            <p:custDataLst>
              <p:tags r:id="rId1"/>
            </p:custDataLst>
          </p:nvPr>
        </p:nvSpPr>
        <p:spPr/>
        <p:txBody>
          <a:bodyPr>
            <a:normAutofit/>
          </a:bodyPr>
          <a:lstStyle/>
          <a:p>
            <a:r>
              <a:rPr lang="fr-CA" dirty="0"/>
              <a:t>Accompagnement et gestion de la résistance</a:t>
            </a:r>
          </a:p>
        </p:txBody>
      </p:sp>
      <p:sp>
        <p:nvSpPr>
          <p:cNvPr id="4" name="Oval 3">
            <a:extLst>
              <a:ext uri="{FF2B5EF4-FFF2-40B4-BE49-F238E27FC236}">
                <a16:creationId xmlns:a16="http://schemas.microsoft.com/office/drawing/2014/main" id="{C7EEBD97-7B77-8F19-8364-1778CD59EF70}"/>
              </a:ext>
              <a:ext uri="{C183D7F6-B498-43B3-948B-1728B52AA6E4}">
                <adec:decorative xmlns:adec="http://schemas.microsoft.com/office/drawing/2017/decorative" val="1"/>
              </a:ext>
            </a:extLst>
          </p:cNvPr>
          <p:cNvSpPr/>
          <p:nvPr>
            <p:custDataLst>
              <p:tags r:id="rId2"/>
            </p:custDataLst>
          </p:nvPr>
        </p:nvSpPr>
        <p:spPr>
          <a:xfrm>
            <a:off x="4268257" y="2002825"/>
            <a:ext cx="3515785" cy="35157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Graphic 4" descr="Group of women">
            <a:extLst>
              <a:ext uri="{FF2B5EF4-FFF2-40B4-BE49-F238E27FC236}">
                <a16:creationId xmlns:a16="http://schemas.microsoft.com/office/drawing/2014/main" id="{B19C7101-560E-8F3A-A177-991F841221C1}"/>
              </a:ext>
            </a:extLst>
          </p:cNvPr>
          <p:cNvPicPr>
            <a:picLocks noChangeAspect="1"/>
          </p:cNvPicPr>
          <p:nvPr>
            <p:custDataLst>
              <p:tags r:id="rId3"/>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81463" y="2002824"/>
            <a:ext cx="3889371" cy="3889371"/>
          </a:xfrm>
          <a:prstGeom prst="rect">
            <a:avLst/>
          </a:prstGeom>
        </p:spPr>
      </p:pic>
    </p:spTree>
    <p:extLst>
      <p:ext uri="{BB962C8B-B14F-4D97-AF65-F5344CB8AC3E}">
        <p14:creationId xmlns:p14="http://schemas.microsoft.com/office/powerpoint/2010/main" val="3259092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5312BC-D894-4EF1-B411-739DA565E3FB}"/>
              </a:ext>
            </a:extLst>
          </p:cNvPr>
          <p:cNvSpPr>
            <a:spLocks noGrp="1"/>
          </p:cNvSpPr>
          <p:nvPr>
            <p:ph type="title"/>
            <p:custDataLst>
              <p:tags r:id="rId1"/>
            </p:custDataLst>
          </p:nvPr>
        </p:nvSpPr>
        <p:spPr/>
        <p:txBody>
          <a:bodyPr>
            <a:normAutofit fontScale="90000"/>
          </a:bodyPr>
          <a:lstStyle/>
          <a:p>
            <a:r>
              <a:rPr lang="fr-CA" b="1" dirty="0">
                <a:latin typeface="Calibri" panose="020F0502020204030204" pitchFamily="34" charset="0"/>
                <a:cs typeface="Calibri" panose="020F0502020204030204" pitchFamily="34" charset="0"/>
              </a:rPr>
              <a:t>Prendre en compte les besoins de nos employés - le modèle de la courbe de changement</a:t>
            </a:r>
          </a:p>
        </p:txBody>
      </p:sp>
      <p:grpSp>
        <p:nvGrpSpPr>
          <p:cNvPr id="4"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7D098EE0-3BFA-C18D-21C7-104B50FD7762}"/>
              </a:ext>
            </a:extLst>
          </p:cNvPr>
          <p:cNvGrpSpPr/>
          <p:nvPr>
            <p:custDataLst>
              <p:tags r:id="rId2"/>
            </p:custDataLst>
          </p:nvPr>
        </p:nvGrpSpPr>
        <p:grpSpPr>
          <a:xfrm>
            <a:off x="1283662" y="1603222"/>
            <a:ext cx="9306079" cy="4870885"/>
            <a:chOff x="463622" y="1569720"/>
            <a:chExt cx="7052964" cy="3570915"/>
          </a:xfrm>
        </p:grpSpPr>
        <p:cxnSp>
          <p:nvCxnSpPr>
            <p:cNvPr id="5" name="Straight Arrow Connector 9">
              <a:extLst>
                <a:ext uri="{FF2B5EF4-FFF2-40B4-BE49-F238E27FC236}">
                  <a16:creationId xmlns:a16="http://schemas.microsoft.com/office/drawing/2014/main" id="{3842C466-C7D4-9BD9-F256-E7DF9B554B6F}"/>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11">
              <a:extLst>
                <a:ext uri="{FF2B5EF4-FFF2-40B4-BE49-F238E27FC236}">
                  <a16:creationId xmlns:a16="http://schemas.microsoft.com/office/drawing/2014/main" id="{D500568F-9AD3-A0A4-0E11-7D5E56AACFB2}"/>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Freeform: Shape 13">
              <a:extLst>
                <a:ext uri="{FF2B5EF4-FFF2-40B4-BE49-F238E27FC236}">
                  <a16:creationId xmlns:a16="http://schemas.microsoft.com/office/drawing/2014/main" id="{1F0873E0-DC4B-6171-4693-C1E51DF9C471}"/>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9" name="Oval 14">
              <a:extLst>
                <a:ext uri="{FF2B5EF4-FFF2-40B4-BE49-F238E27FC236}">
                  <a16:creationId xmlns:a16="http://schemas.microsoft.com/office/drawing/2014/main" id="{E092A97F-6BBD-D593-43B1-26BA24C314F5}"/>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Oval 15">
              <a:extLst>
                <a:ext uri="{FF2B5EF4-FFF2-40B4-BE49-F238E27FC236}">
                  <a16:creationId xmlns:a16="http://schemas.microsoft.com/office/drawing/2014/main" id="{162386C6-35D4-3836-810E-12B51D5EF5E0}"/>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2" name="Oval 16">
              <a:extLst>
                <a:ext uri="{FF2B5EF4-FFF2-40B4-BE49-F238E27FC236}">
                  <a16:creationId xmlns:a16="http://schemas.microsoft.com/office/drawing/2014/main" id="{45F2B587-8419-A02F-3516-DD90BF6ECCBD}"/>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3" name="Oval 17">
              <a:extLst>
                <a:ext uri="{FF2B5EF4-FFF2-40B4-BE49-F238E27FC236}">
                  <a16:creationId xmlns:a16="http://schemas.microsoft.com/office/drawing/2014/main" id="{1904F2FF-0EAF-FC3F-524E-41A2AE222B75}"/>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4" name="TextBox 19">
              <a:extLst>
                <a:ext uri="{FF2B5EF4-FFF2-40B4-BE49-F238E27FC236}">
                  <a16:creationId xmlns:a16="http://schemas.microsoft.com/office/drawing/2014/main" id="{E654B4EB-FE97-5DE0-C53C-606F64225C4F}"/>
                </a:ext>
              </a:extLst>
            </p:cNvPr>
            <p:cNvSpPr txBox="1"/>
            <p:nvPr/>
          </p:nvSpPr>
          <p:spPr>
            <a:xfrm>
              <a:off x="894839" y="2035903"/>
              <a:ext cx="857250"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Déni</a:t>
              </a:r>
            </a:p>
          </p:txBody>
        </p:sp>
        <p:sp>
          <p:nvSpPr>
            <p:cNvPr id="15" name="TextBox 20">
              <a:extLst>
                <a:ext uri="{FF2B5EF4-FFF2-40B4-BE49-F238E27FC236}">
                  <a16:creationId xmlns:a16="http://schemas.microsoft.com/office/drawing/2014/main" id="{AA1D958F-4834-BA1F-DC7C-01EB58A22803}"/>
                </a:ext>
              </a:extLst>
            </p:cNvPr>
            <p:cNvSpPr txBox="1"/>
            <p:nvPr/>
          </p:nvSpPr>
          <p:spPr>
            <a:xfrm>
              <a:off x="1685474" y="3781820"/>
              <a:ext cx="1353001"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Résistance</a:t>
              </a:r>
            </a:p>
          </p:txBody>
        </p:sp>
        <p:sp>
          <p:nvSpPr>
            <p:cNvPr id="16" name="TextBox 21">
              <a:extLst>
                <a:ext uri="{FF2B5EF4-FFF2-40B4-BE49-F238E27FC236}">
                  <a16:creationId xmlns:a16="http://schemas.microsoft.com/office/drawing/2014/main" id="{343B3274-D054-EC37-0744-050767ACF9E6}"/>
                </a:ext>
              </a:extLst>
            </p:cNvPr>
            <p:cNvSpPr txBox="1"/>
            <p:nvPr/>
          </p:nvSpPr>
          <p:spPr>
            <a:xfrm>
              <a:off x="4573983" y="1734985"/>
              <a:ext cx="1353001"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ngagement</a:t>
              </a:r>
            </a:p>
          </p:txBody>
        </p:sp>
        <p:sp>
          <p:nvSpPr>
            <p:cNvPr id="17" name="TextBox 22">
              <a:extLst>
                <a:ext uri="{FF2B5EF4-FFF2-40B4-BE49-F238E27FC236}">
                  <a16:creationId xmlns:a16="http://schemas.microsoft.com/office/drawing/2014/main" id="{AC206013-C5B9-7CD1-CCB5-485DDFA6F240}"/>
                </a:ext>
              </a:extLst>
            </p:cNvPr>
            <p:cNvSpPr txBox="1"/>
            <p:nvPr/>
          </p:nvSpPr>
          <p:spPr>
            <a:xfrm>
              <a:off x="5157737" y="3331139"/>
              <a:ext cx="1353001"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xploration</a:t>
              </a:r>
            </a:p>
          </p:txBody>
        </p:sp>
        <p:sp>
          <p:nvSpPr>
            <p:cNvPr id="18" name="TextBox 23">
              <a:extLst>
                <a:ext uri="{FF2B5EF4-FFF2-40B4-BE49-F238E27FC236}">
                  <a16:creationId xmlns:a16="http://schemas.microsoft.com/office/drawing/2014/main" id="{E0E1ECE0-E469-4593-6848-2D2173EB20B3}"/>
                </a:ext>
              </a:extLst>
            </p:cNvPr>
            <p:cNvSpPr txBox="1"/>
            <p:nvPr/>
          </p:nvSpPr>
          <p:spPr>
            <a:xfrm>
              <a:off x="895564" y="2292286"/>
              <a:ext cx="1266532" cy="33845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hoc initial et incompréhension </a:t>
              </a:r>
            </a:p>
          </p:txBody>
        </p:sp>
        <p:sp>
          <p:nvSpPr>
            <p:cNvPr id="19" name="TextBox 24">
              <a:extLst>
                <a:ext uri="{FF2B5EF4-FFF2-40B4-BE49-F238E27FC236}">
                  <a16:creationId xmlns:a16="http://schemas.microsoft.com/office/drawing/2014/main" id="{2E9B8A09-5D37-B323-8F96-00B1D0F2FBC1}"/>
                </a:ext>
              </a:extLst>
            </p:cNvPr>
            <p:cNvSpPr txBox="1"/>
            <p:nvPr/>
          </p:nvSpPr>
          <p:spPr>
            <a:xfrm>
              <a:off x="1685473" y="4050415"/>
              <a:ext cx="1419675" cy="473834"/>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Sentiments de peur et de colère conduisant à des protestations</a:t>
              </a:r>
            </a:p>
          </p:txBody>
        </p:sp>
        <p:sp>
          <p:nvSpPr>
            <p:cNvPr id="20" name="TextBox 25">
              <a:extLst>
                <a:ext uri="{FF2B5EF4-FFF2-40B4-BE49-F238E27FC236}">
                  <a16:creationId xmlns:a16="http://schemas.microsoft.com/office/drawing/2014/main" id="{6C2CCEC5-C814-DA4C-4299-DAAF18035FDF}"/>
                </a:ext>
              </a:extLst>
            </p:cNvPr>
            <p:cNvSpPr txBox="1"/>
            <p:nvPr/>
          </p:nvSpPr>
          <p:spPr>
            <a:xfrm>
              <a:off x="5172927" y="3608835"/>
              <a:ext cx="1938467" cy="33845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ompréhension, enthousiasme et questionnement des employés</a:t>
              </a:r>
            </a:p>
          </p:txBody>
        </p:sp>
        <p:sp>
          <p:nvSpPr>
            <p:cNvPr id="21" name="TextBox 26">
              <a:extLst>
                <a:ext uri="{FF2B5EF4-FFF2-40B4-BE49-F238E27FC236}">
                  <a16:creationId xmlns:a16="http://schemas.microsoft.com/office/drawing/2014/main" id="{39D89171-095E-D00E-BE7D-F3608D8FC3BA}"/>
                </a:ext>
              </a:extLst>
            </p:cNvPr>
            <p:cNvSpPr txBox="1"/>
            <p:nvPr/>
          </p:nvSpPr>
          <p:spPr>
            <a:xfrm>
              <a:off x="4585031" y="1990972"/>
              <a:ext cx="1419675" cy="33845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Apprendre à s'adapter au changement</a:t>
              </a:r>
            </a:p>
          </p:txBody>
        </p:sp>
        <p:sp>
          <p:nvSpPr>
            <p:cNvPr id="22" name="TextBox 28">
              <a:extLst>
                <a:ext uri="{FF2B5EF4-FFF2-40B4-BE49-F238E27FC236}">
                  <a16:creationId xmlns:a16="http://schemas.microsoft.com/office/drawing/2014/main" id="{4834B9B0-A158-0FB7-2D57-FFE6E20CBDA5}"/>
                </a:ext>
              </a:extLst>
            </p:cNvPr>
            <p:cNvSpPr txBox="1"/>
            <p:nvPr/>
          </p:nvSpPr>
          <p:spPr>
            <a:xfrm>
              <a:off x="5786302" y="4914999"/>
              <a:ext cx="1578019" cy="225636"/>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Temps</a:t>
              </a:r>
              <a:endParaRPr lang="fr-CA" i="1" dirty="0">
                <a:latin typeface="Arial" panose="020B0604020202020204" pitchFamily="34" charset="0"/>
                <a:cs typeface="Arial" panose="020B0604020202020204" pitchFamily="34" charset="0"/>
              </a:endParaRPr>
            </a:p>
          </p:txBody>
        </p:sp>
        <p:sp>
          <p:nvSpPr>
            <p:cNvPr id="23" name="TextBox 29">
              <a:extLst>
                <a:ext uri="{FF2B5EF4-FFF2-40B4-BE49-F238E27FC236}">
                  <a16:creationId xmlns:a16="http://schemas.microsoft.com/office/drawing/2014/main" id="{307F8D4E-8D58-3325-89C1-1313363FAFE1}"/>
                </a:ext>
              </a:extLst>
            </p:cNvPr>
            <p:cNvSpPr txBox="1"/>
            <p:nvPr/>
          </p:nvSpPr>
          <p:spPr>
            <a:xfrm rot="16200000">
              <a:off x="-208758" y="2289581"/>
              <a:ext cx="1578019" cy="233260"/>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Rendement</a:t>
              </a:r>
              <a:endParaRPr lang="fr-CA" i="1" dirty="0">
                <a:latin typeface="Arial" panose="020B0604020202020204" pitchFamily="34" charset="0"/>
                <a:cs typeface="Arial" panose="020B0604020202020204" pitchFamily="34" charset="0"/>
              </a:endParaRPr>
            </a:p>
          </p:txBody>
        </p:sp>
        <p:pic>
          <p:nvPicPr>
            <p:cNvPr id="24" name="Graphic 31" descr="Surprised face with no fill">
              <a:extLst>
                <a:ext uri="{FF2B5EF4-FFF2-40B4-BE49-F238E27FC236}">
                  <a16:creationId xmlns:a16="http://schemas.microsoft.com/office/drawing/2014/main" id="{7670F410-8A4E-F115-8AD4-7DA66A53FAD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8753" y="2916522"/>
              <a:ext cx="548640" cy="548640"/>
            </a:xfrm>
            <a:prstGeom prst="rect">
              <a:avLst/>
            </a:prstGeom>
          </p:spPr>
        </p:pic>
        <p:pic>
          <p:nvPicPr>
            <p:cNvPr id="25" name="Graphic 33" descr="Neutral face with no fill">
              <a:extLst>
                <a:ext uri="{FF2B5EF4-FFF2-40B4-BE49-F238E27FC236}">
                  <a16:creationId xmlns:a16="http://schemas.microsoft.com/office/drawing/2014/main" id="{8383BB78-02F2-20E3-0C00-31DDB9DC3A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34774" y="3207335"/>
              <a:ext cx="548640" cy="548640"/>
            </a:xfrm>
            <a:prstGeom prst="rect">
              <a:avLst/>
            </a:prstGeom>
          </p:spPr>
        </p:pic>
        <p:pic>
          <p:nvPicPr>
            <p:cNvPr id="26" name="Graphic 35" descr="Worried face with no fill">
              <a:extLst>
                <a:ext uri="{FF2B5EF4-FFF2-40B4-BE49-F238E27FC236}">
                  <a16:creationId xmlns:a16="http://schemas.microsoft.com/office/drawing/2014/main" id="{8EF4FE82-B41F-F80F-8158-5A64EDD3F8C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56755" y="3726359"/>
              <a:ext cx="548640" cy="548640"/>
            </a:xfrm>
            <a:prstGeom prst="rect">
              <a:avLst/>
            </a:prstGeom>
          </p:spPr>
        </p:pic>
        <p:pic>
          <p:nvPicPr>
            <p:cNvPr id="27" name="Graphic 37" descr="Grinning face with no fill">
              <a:extLst>
                <a:ext uri="{FF2B5EF4-FFF2-40B4-BE49-F238E27FC236}">
                  <a16:creationId xmlns:a16="http://schemas.microsoft.com/office/drawing/2014/main" id="{3C2CC686-28E6-DB33-2B8F-294AB942C9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29756" y="1950745"/>
              <a:ext cx="548640" cy="548640"/>
            </a:xfrm>
            <a:prstGeom prst="rect">
              <a:avLst/>
            </a:prstGeom>
          </p:spPr>
        </p:pic>
      </p:grpSp>
    </p:spTree>
    <p:extLst>
      <p:ext uri="{BB962C8B-B14F-4D97-AF65-F5344CB8AC3E}">
        <p14:creationId xmlns:p14="http://schemas.microsoft.com/office/powerpoint/2010/main" val="1875387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custDataLst>
              <p:tags r:id="rId1"/>
            </p:custDataLst>
          </p:nvPr>
        </p:nvSpPr>
        <p:spPr/>
        <p:txBody>
          <a:bodyPr/>
          <a:lstStyle/>
          <a:p>
            <a:r>
              <a:rPr lang="fr-CA" dirty="0"/>
              <a:t>Faites preuve de compassion et de grâce</a:t>
            </a:r>
            <a:endParaRPr lang="en-CA" dirty="0"/>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custDataLst>
              <p:tags r:id="rId2"/>
            </p:custDataLst>
          </p:nvPr>
        </p:nvPicPr>
        <p:blipFill>
          <a:blip r:embed="rId7" cstate="screen">
            <a:extLst>
              <a:ext uri="{28A0092B-C50C-407E-A947-70E740481C1C}">
                <a14:useLocalDpi xmlns:a14="http://schemas.microsoft.com/office/drawing/2010/main" val="0"/>
              </a:ext>
            </a:extLst>
          </a:blip>
          <a:srcRect/>
          <a:stretch>
            <a:fillRect/>
          </a:stretch>
        </p:blipFill>
        <p:spPr>
          <a:xfrm>
            <a:off x="4328799" y="1462254"/>
            <a:ext cx="7160592" cy="4400551"/>
          </a:xfrm>
        </p:spPr>
      </p:pic>
      <p:sp>
        <p:nvSpPr>
          <p:cNvPr id="2" name="Rectangle 1">
            <a:extLst>
              <a:ext uri="{FF2B5EF4-FFF2-40B4-BE49-F238E27FC236}">
                <a16:creationId xmlns:a16="http://schemas.microsoft.com/office/drawing/2014/main" id="{5F2133EB-D1DE-36F4-1A38-9F3853005FC1}"/>
              </a:ext>
              <a:ext uri="{C183D7F6-B498-43B3-948B-1728B52AA6E4}">
                <adec:decorative xmlns:adec="http://schemas.microsoft.com/office/drawing/2017/decorative" val="1"/>
              </a:ext>
            </a:extLst>
          </p:cNvPr>
          <p:cNvSpPr/>
          <p:nvPr>
            <p:custDataLst>
              <p:tags r:id="rId3"/>
            </p:custDataLst>
          </p:nvPr>
        </p:nvSpPr>
        <p:spPr>
          <a:xfrm>
            <a:off x="4328799" y="1462254"/>
            <a:ext cx="7160592" cy="4400551"/>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custDataLst>
              <p:tags r:id="rId4"/>
            </p:custDataLst>
          </p:nvPr>
        </p:nvSpPr>
        <p:spPr>
          <a:xfrm>
            <a:off x="508759" y="1489237"/>
            <a:ext cx="4365789" cy="4120018"/>
          </a:xfrm>
        </p:spPr>
        <p:txBody>
          <a:bodyPr lIns="91440" tIns="45720" rIns="91440" bIns="45720" anchor="t">
            <a:noAutofit/>
          </a:bodyPr>
          <a:lstStyle/>
          <a:p>
            <a:pPr marL="285750" indent="-285750">
              <a:spcBef>
                <a:spcPts val="1200"/>
              </a:spcBef>
              <a:buFont typeface="Arial" panose="020B0604020202020204" pitchFamily="34" charset="0"/>
              <a:buChar char="•"/>
            </a:pPr>
            <a:r>
              <a:rPr lang="fr-CA" sz="1800" dirty="0">
                <a:latin typeface="Calibri"/>
                <a:ea typeface="Calibri"/>
                <a:cs typeface="Times New Roman"/>
              </a:rPr>
              <a:t>Un gestionnaire compatissant se soucie véritablement de son équipe et comprend ses émotions et ses difficultés. Il est compréhensif et offre du soutien tout en étant optimiste quant à l'avenir. </a:t>
            </a:r>
            <a:endParaRPr lang="fr-CA" sz="1800" dirty="0"/>
          </a:p>
          <a:p>
            <a:pPr marL="342900" indent="-342900">
              <a:spcBef>
                <a:spcPts val="1200"/>
              </a:spcBef>
              <a:buFont typeface="Arial" panose="020B0604020202020204" pitchFamily="34" charset="0"/>
              <a:buChar char="•"/>
            </a:pPr>
            <a:r>
              <a:rPr lang="fr-CA" sz="1800" dirty="0">
                <a:latin typeface="Calibri"/>
                <a:ea typeface="Calibri"/>
                <a:cs typeface="Times New Roman"/>
              </a:rPr>
              <a:t>Un gestionnaire gère les situations difficiles avec assurance et dignité, puis il peut facilement s'adapter à des événements inattendus.</a:t>
            </a:r>
          </a:p>
          <a:p>
            <a:pPr>
              <a:spcBef>
                <a:spcPts val="0"/>
              </a:spcBef>
            </a:pPr>
            <a:endParaRPr lang="fr-CA" sz="1800" dirty="0">
              <a:latin typeface="Calibri"/>
              <a:ea typeface="Calibri"/>
              <a:cs typeface="Times New Roman"/>
            </a:endParaRPr>
          </a:p>
          <a:p>
            <a:pPr marL="342900" indent="-342900">
              <a:spcBef>
                <a:spcPts val="0"/>
              </a:spcBef>
              <a:buFont typeface="Arial" panose="020B0604020202020204" pitchFamily="34" charset="0"/>
              <a:buChar char="•"/>
            </a:pPr>
            <a:r>
              <a:rPr lang="fr-CA" sz="1800" dirty="0">
                <a:latin typeface="Calibri"/>
                <a:ea typeface="Calibri"/>
                <a:cs typeface="Times New Roman"/>
              </a:rPr>
              <a:t>Réfléchissez à votre propre passage à travers la courbe du changement (que ce soit ce changement ou un autre) lorsque vous traitez avec vos employés et faites en sorte que cela soit une source d'empathie.</a:t>
            </a:r>
          </a:p>
        </p:txBody>
      </p:sp>
    </p:spTree>
    <p:extLst>
      <p:ext uri="{BB962C8B-B14F-4D97-AF65-F5344CB8AC3E}">
        <p14:creationId xmlns:p14="http://schemas.microsoft.com/office/powerpoint/2010/main" val="2912528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C0DFEF"/>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custDataLst>
              <p:tags r:id="rId1"/>
            </p:custDataLst>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1"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Comment utiliser ce document</a:t>
            </a:r>
          </a:p>
        </p:txBody>
      </p:sp>
      <p:sp>
        <p:nvSpPr>
          <p:cNvPr id="6" name="TextBox 5">
            <a:extLst>
              <a:ext uri="{FF2B5EF4-FFF2-40B4-BE49-F238E27FC236}">
                <a16:creationId xmlns:a16="http://schemas.microsoft.com/office/drawing/2014/main" id="{E721DAC6-2C79-1360-C798-8A813E90139B}"/>
              </a:ext>
            </a:extLst>
          </p:cNvPr>
          <p:cNvSpPr txBox="1"/>
          <p:nvPr>
            <p:custDataLst>
              <p:tags r:id="rId2"/>
            </p:custDataLst>
          </p:nvPr>
        </p:nvSpPr>
        <p:spPr>
          <a:xfrm>
            <a:off x="593651" y="1451247"/>
            <a:ext cx="11021175" cy="2585323"/>
          </a:xfrm>
          <a:prstGeom prst="rect">
            <a:avLst/>
          </a:prstGeom>
          <a:noFill/>
        </p:spPr>
        <p:txBody>
          <a:bodyPr wrap="square">
            <a:spAutoFit/>
          </a:bodyPr>
          <a:lstStyle/>
          <a:p>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POUR QUI :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Docum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résenté aux gestionnaires et aux superviseurs d'une organisation pour les aider à comprendre leur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rôle dans la transition vers un milieu de travail optimisé.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e document peut également être distribué sous la forme d’une présentation.</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QUAND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Le plus tôt possible, après la présentation aux cadres.</a:t>
            </a:r>
            <a:endPar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COMMENT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résenté par le parrain exécutif lors des comités exécutifs ou des forums.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accessible ici : </a:t>
            </a:r>
            <a:r>
              <a:rPr lang="fr-CA"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a:t>
            </a:r>
            <a:r>
              <a:rPr lang="fr-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ersion EN</a:t>
            </a:r>
          </a:p>
        </p:txBody>
      </p:sp>
      <p:sp>
        <p:nvSpPr>
          <p:cNvPr id="7" name="Google Shape;274;p2">
            <a:extLst>
              <a:ext uri="{FF2B5EF4-FFF2-40B4-BE49-F238E27FC236}">
                <a16:creationId xmlns:a16="http://schemas.microsoft.com/office/drawing/2014/main" id="{1BB55E0A-6F72-0999-0ACE-64DCC8775AAC}"/>
              </a:ext>
            </a:extLst>
          </p:cNvPr>
          <p:cNvSpPr txBox="1"/>
          <p:nvPr>
            <p:custDataLst>
              <p:tags r:id="rId3"/>
            </p:custDataLst>
          </p:nvPr>
        </p:nvSpPr>
        <p:spPr>
          <a:xfrm>
            <a:off x="4020104" y="145813"/>
            <a:ext cx="5267115" cy="369291"/>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 - Retirez cette page avant de l'utiliser</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32E3F-0C57-7047-63C6-D6AD5EBDE382}"/>
              </a:ext>
            </a:extLst>
          </p:cNvPr>
          <p:cNvSpPr>
            <a:spLocks noGrp="1"/>
          </p:cNvSpPr>
          <p:nvPr>
            <p:ph type="title"/>
            <p:custDataLst>
              <p:tags r:id="rId1"/>
            </p:custDataLst>
          </p:nvPr>
        </p:nvSpPr>
        <p:spPr/>
        <p:txBody>
          <a:bodyPr/>
          <a:lstStyle/>
          <a:p>
            <a:r>
              <a:rPr lang="fr-CA" dirty="0"/>
              <a:t>Accompagner les employés dans leur courbe de changement</a:t>
            </a:r>
          </a:p>
        </p:txBody>
      </p:sp>
      <p:sp>
        <p:nvSpPr>
          <p:cNvPr id="3" name="Flowchart: Off-page Connector 2">
            <a:extLst>
              <a:ext uri="{FF2B5EF4-FFF2-40B4-BE49-F238E27FC236}">
                <a16:creationId xmlns:a16="http://schemas.microsoft.com/office/drawing/2014/main" id="{F7F9C321-5045-FC17-DD16-3AF5F6E5AAB2}"/>
              </a:ext>
            </a:extLst>
          </p:cNvPr>
          <p:cNvSpPr/>
          <p:nvPr>
            <p:custDataLst>
              <p:tags r:id="rId2"/>
            </p:custDataLst>
          </p:nvPr>
        </p:nvSpPr>
        <p:spPr>
          <a:xfrm>
            <a:off x="508759" y="1639670"/>
            <a:ext cx="11081386" cy="353665"/>
          </a:xfrm>
          <a:prstGeom prst="flowChartOffpageConnector">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Un employé est dans le déni</a:t>
            </a:r>
          </a:p>
        </p:txBody>
      </p:sp>
      <p:sp>
        <p:nvSpPr>
          <p:cNvPr id="4" name="TextBox 3">
            <a:extLst>
              <a:ext uri="{FF2B5EF4-FFF2-40B4-BE49-F238E27FC236}">
                <a16:creationId xmlns:a16="http://schemas.microsoft.com/office/drawing/2014/main" id="{FB4D97CD-4E3A-8D73-6C78-0E130C8F9229}"/>
              </a:ext>
            </a:extLst>
          </p:cNvPr>
          <p:cNvSpPr txBox="1"/>
          <p:nvPr>
            <p:custDataLst>
              <p:tags r:id="rId3"/>
            </p:custDataLst>
          </p:nvPr>
        </p:nvSpPr>
        <p:spPr>
          <a:xfrm>
            <a:off x="508759" y="2080749"/>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Écoutez, posez des questions et expliquez le pourquoi et le comment du changement.</a:t>
            </a:r>
          </a:p>
          <a:p>
            <a:pPr marL="285750" indent="-285750">
              <a:buFont typeface="Arial" panose="020B0604020202020204" pitchFamily="34" charset="0"/>
              <a:buChar char="•"/>
            </a:pPr>
            <a:r>
              <a:rPr lang="fr-CA" sz="1600" dirty="0"/>
              <a:t>Soulignez l'importance de la transition et encouragez-les à prendre le temps nécessaire</a:t>
            </a:r>
            <a:r>
              <a:rPr lang="fr-CA" sz="1400" dirty="0"/>
              <a:t>.</a:t>
            </a:r>
          </a:p>
        </p:txBody>
      </p:sp>
      <p:sp>
        <p:nvSpPr>
          <p:cNvPr id="5" name="Flowchart: Off-page Connector 4">
            <a:extLst>
              <a:ext uri="{FF2B5EF4-FFF2-40B4-BE49-F238E27FC236}">
                <a16:creationId xmlns:a16="http://schemas.microsoft.com/office/drawing/2014/main" id="{35521651-F690-5D7A-EC35-650FCBE5BE26}"/>
              </a:ext>
            </a:extLst>
          </p:cNvPr>
          <p:cNvSpPr/>
          <p:nvPr>
            <p:custDataLst>
              <p:tags r:id="rId4"/>
            </p:custDataLst>
          </p:nvPr>
        </p:nvSpPr>
        <p:spPr>
          <a:xfrm>
            <a:off x="508759" y="2814050"/>
            <a:ext cx="11081386"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Un employé est frustré ou déprimé</a:t>
            </a:r>
          </a:p>
        </p:txBody>
      </p:sp>
      <p:sp>
        <p:nvSpPr>
          <p:cNvPr id="6" name="TextBox 5">
            <a:extLst>
              <a:ext uri="{FF2B5EF4-FFF2-40B4-BE49-F238E27FC236}">
                <a16:creationId xmlns:a16="http://schemas.microsoft.com/office/drawing/2014/main" id="{D2E6727D-6C14-1EB8-AA24-DDFF078476B3}"/>
              </a:ext>
            </a:extLst>
          </p:cNvPr>
          <p:cNvSpPr txBox="1"/>
          <p:nvPr>
            <p:custDataLst>
              <p:tags r:id="rId5"/>
            </p:custDataLst>
          </p:nvPr>
        </p:nvSpPr>
        <p:spPr>
          <a:xfrm>
            <a:off x="508759" y="3183211"/>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Recueillez du matériel, demandez de l'aide à l'équipe de projet.</a:t>
            </a:r>
          </a:p>
          <a:p>
            <a:pPr marL="285750" indent="-285750">
              <a:buFont typeface="Arial" panose="020B0604020202020204" pitchFamily="34" charset="0"/>
              <a:buChar char="•"/>
            </a:pPr>
            <a:r>
              <a:rPr lang="fr-CA" sz="1600" dirty="0"/>
              <a:t>Restez empathique, mais soyez confiant dans l'issue positive du changement.</a:t>
            </a:r>
          </a:p>
        </p:txBody>
      </p:sp>
      <p:sp>
        <p:nvSpPr>
          <p:cNvPr id="7" name="Flowchart: Off-page Connector 6">
            <a:extLst>
              <a:ext uri="{FF2B5EF4-FFF2-40B4-BE49-F238E27FC236}">
                <a16:creationId xmlns:a16="http://schemas.microsoft.com/office/drawing/2014/main" id="{8863DCB0-B132-7181-30DE-FAD1B0C0DDF6}"/>
              </a:ext>
            </a:extLst>
          </p:cNvPr>
          <p:cNvSpPr/>
          <p:nvPr>
            <p:custDataLst>
              <p:tags r:id="rId6"/>
            </p:custDataLst>
          </p:nvPr>
        </p:nvSpPr>
        <p:spPr>
          <a:xfrm>
            <a:off x="508759" y="3937371"/>
            <a:ext cx="11081386"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Un employé expérimente</a:t>
            </a:r>
          </a:p>
        </p:txBody>
      </p:sp>
      <p:sp>
        <p:nvSpPr>
          <p:cNvPr id="8" name="TextBox 7">
            <a:extLst>
              <a:ext uri="{FF2B5EF4-FFF2-40B4-BE49-F238E27FC236}">
                <a16:creationId xmlns:a16="http://schemas.microsoft.com/office/drawing/2014/main" id="{947E9467-6EE6-FBB6-D209-9337B224B714}"/>
              </a:ext>
            </a:extLst>
          </p:cNvPr>
          <p:cNvSpPr txBox="1"/>
          <p:nvPr>
            <p:custDataLst>
              <p:tags r:id="rId7"/>
            </p:custDataLst>
          </p:nvPr>
        </p:nvSpPr>
        <p:spPr>
          <a:xfrm>
            <a:off x="508759" y="430653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Fournissez du matériel de formation et de lecture.</a:t>
            </a:r>
          </a:p>
          <a:p>
            <a:pPr marL="285750" indent="-285750">
              <a:buFont typeface="Arial" panose="020B0604020202020204" pitchFamily="34" charset="0"/>
              <a:buChar char="•"/>
            </a:pPr>
            <a:r>
              <a:rPr lang="fr-CA" sz="1600" dirty="0"/>
              <a:t>Organisez régulièrement des réunions d'équipe et invitez-les à partager leur enthousiasme avec les autres.</a:t>
            </a:r>
            <a:endParaRPr lang="fr-CA" sz="1400" dirty="0"/>
          </a:p>
        </p:txBody>
      </p:sp>
      <p:sp>
        <p:nvSpPr>
          <p:cNvPr id="9" name="Flowchart: Off-page Connector 8">
            <a:extLst>
              <a:ext uri="{FF2B5EF4-FFF2-40B4-BE49-F238E27FC236}">
                <a16:creationId xmlns:a16="http://schemas.microsoft.com/office/drawing/2014/main" id="{9FB2266D-787A-60E8-67B4-EC9D1650C40D}"/>
              </a:ext>
            </a:extLst>
          </p:cNvPr>
          <p:cNvSpPr/>
          <p:nvPr>
            <p:custDataLst>
              <p:tags r:id="rId8"/>
            </p:custDataLst>
          </p:nvPr>
        </p:nvSpPr>
        <p:spPr>
          <a:xfrm>
            <a:off x="508759" y="5060692"/>
            <a:ext cx="11081386"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Un employé est décidé ou s’intègre</a:t>
            </a:r>
          </a:p>
        </p:txBody>
      </p:sp>
      <p:sp>
        <p:nvSpPr>
          <p:cNvPr id="10" name="TextBox 9">
            <a:extLst>
              <a:ext uri="{FF2B5EF4-FFF2-40B4-BE49-F238E27FC236}">
                <a16:creationId xmlns:a16="http://schemas.microsoft.com/office/drawing/2014/main" id="{FFCF80D2-D173-6A12-3CB2-EEFA7D2F0280}"/>
              </a:ext>
            </a:extLst>
          </p:cNvPr>
          <p:cNvSpPr txBox="1"/>
          <p:nvPr>
            <p:custDataLst>
              <p:tags r:id="rId9"/>
            </p:custDataLst>
          </p:nvPr>
        </p:nvSpPr>
        <p:spPr>
          <a:xfrm>
            <a:off x="508759" y="542985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Créez des occasions pour discuter et collaborer, invitez tous les employés à des événements liés au changement.</a:t>
            </a:r>
          </a:p>
          <a:p>
            <a:pPr marL="285750" indent="-285750">
              <a:buFont typeface="Arial" panose="020B0604020202020204" pitchFamily="34" charset="0"/>
              <a:buChar char="•"/>
            </a:pPr>
            <a:r>
              <a:rPr lang="fr-CA" sz="1600" dirty="0"/>
              <a:t>Explorez les moyens d'améliorer la transition pour les autres.</a:t>
            </a:r>
          </a:p>
        </p:txBody>
      </p:sp>
    </p:spTree>
    <p:extLst>
      <p:ext uri="{BB962C8B-B14F-4D97-AF65-F5344CB8AC3E}">
        <p14:creationId xmlns:p14="http://schemas.microsoft.com/office/powerpoint/2010/main" val="1650686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8A90E-B601-4187-911F-105639F10A47}"/>
              </a:ext>
            </a:extLst>
          </p:cNvPr>
          <p:cNvSpPr>
            <a:spLocks noGrp="1"/>
          </p:cNvSpPr>
          <p:nvPr>
            <p:ph type="title"/>
            <p:custDataLst>
              <p:tags r:id="rId1"/>
            </p:custDataLst>
          </p:nvPr>
        </p:nvSpPr>
        <p:spPr/>
        <p:txBody>
          <a:bodyPr/>
          <a:lstStyle/>
          <a:p>
            <a:r>
              <a:rPr lang="fr-CA" dirty="0"/>
              <a:t>Soutenir les employés</a:t>
            </a:r>
          </a:p>
        </p:txBody>
      </p:sp>
      <p:sp>
        <p:nvSpPr>
          <p:cNvPr id="7" name="TextBox 6">
            <a:extLst>
              <a:ext uri="{FF2B5EF4-FFF2-40B4-BE49-F238E27FC236}">
                <a16:creationId xmlns:a16="http://schemas.microsoft.com/office/drawing/2014/main" id="{9C51F60B-98E4-4F1B-BEDC-8E724CCD5EA0}"/>
              </a:ext>
            </a:extLst>
          </p:cNvPr>
          <p:cNvSpPr txBox="1"/>
          <p:nvPr>
            <p:custDataLst>
              <p:tags r:id="rId2"/>
            </p:custDataLst>
          </p:nvPr>
        </p:nvSpPr>
        <p:spPr>
          <a:xfrm>
            <a:off x="722379" y="1454150"/>
            <a:ext cx="6226145" cy="4873129"/>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Accompagner votre équipe dans le changement peut sembler une tâche insurmontable, surtout lorsque la réalité du changement est plus importante que prévu. Voici huit conseils de base qui peuvent vous aider à soutenir votre équipe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Établir la confiance : </a:t>
            </a:r>
            <a:r>
              <a:rPr lang="fr-CA" sz="1400" dirty="0">
                <a:latin typeface="Arial" panose="020B0604020202020204" pitchFamily="34" charset="0"/>
                <a:cs typeface="Arial" panose="020B0604020202020204" pitchFamily="34" charset="0"/>
              </a:rPr>
              <a:t>créez un lieu de partage sûr et respectueux.</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Contrôles fréquents : </a:t>
            </a:r>
            <a:r>
              <a:rPr lang="fr-CA" sz="1400" dirty="0">
                <a:latin typeface="Arial" panose="020B0604020202020204" pitchFamily="34" charset="0"/>
                <a:cs typeface="Arial" panose="020B0604020202020204" pitchFamily="34" charset="0"/>
              </a:rPr>
              <a:t>organisez des moments pour discuter du changement avec les individus, de manière formelle et informelle, ainsi qu'avec l'équipe.</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Transparence : </a:t>
            </a:r>
            <a:r>
              <a:rPr lang="fr-CA" sz="1400" dirty="0">
                <a:latin typeface="Arial" panose="020B0604020202020204" pitchFamily="34" charset="0"/>
                <a:cs typeface="Arial" panose="020B0604020202020204" pitchFamily="34" charset="0"/>
              </a:rPr>
              <a:t>tenez-vous-en aux faits et soyez honnête lorsque vous ne connaissez pas la réponse. Soutenez les employés en trouvant des solutions.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Interaction sociale : </a:t>
            </a:r>
            <a:r>
              <a:rPr lang="fr-CA" sz="1400" dirty="0">
                <a:latin typeface="Arial" panose="020B0604020202020204" pitchFamily="34" charset="0"/>
                <a:cs typeface="Arial" panose="020B0604020202020204" pitchFamily="34" charset="0"/>
              </a:rPr>
              <a:t>combattez l'anxiété et surmontez les peurs au moyen d’activités engageantes avec les membres de l'équipe.</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Règles d'engagement : </a:t>
            </a:r>
            <a:r>
              <a:rPr lang="fr-CA" sz="1400" dirty="0">
                <a:latin typeface="Arial" panose="020B0604020202020204" pitchFamily="34" charset="0"/>
                <a:cs typeface="Arial" panose="020B0604020202020204" pitchFamily="34" charset="0"/>
              </a:rPr>
              <a:t>utilisez les bons outils et les bonnes plateformes pour communiquer et engager.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Empathie : </a:t>
            </a:r>
            <a:r>
              <a:rPr lang="fr-CA" sz="1400" dirty="0">
                <a:latin typeface="Arial" panose="020B0604020202020204" pitchFamily="34" charset="0"/>
                <a:cs typeface="Arial" panose="020B0604020202020204" pitchFamily="34" charset="0"/>
              </a:rPr>
              <a:t>prenez connaissance des besoins des autres et soyez à l'écoute des défis en matière de diversité et d'inclusion.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Être conscient : </a:t>
            </a:r>
            <a:r>
              <a:rPr lang="fr-CA" sz="1400" dirty="0">
                <a:latin typeface="Arial" panose="020B0604020202020204" pitchFamily="34" charset="0"/>
                <a:cs typeface="Arial" panose="020B0604020202020204" pitchFamily="34" charset="0"/>
              </a:rPr>
              <a:t>faites bon usage du temps, soyez clair et tirez parti de toutes les ressources.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Reconnaissance et éloges : </a:t>
            </a:r>
            <a:r>
              <a:rPr lang="fr-CA" sz="1400" dirty="0">
                <a:latin typeface="Arial" panose="020B0604020202020204" pitchFamily="34" charset="0"/>
                <a:cs typeface="Arial" panose="020B0604020202020204" pitchFamily="34" charset="0"/>
              </a:rPr>
              <a:t>célébrez les petites victoires de tous les employés, quel que soit leur niveau d'adoption. </a:t>
            </a:r>
          </a:p>
        </p:txBody>
      </p:sp>
      <p:sp>
        <p:nvSpPr>
          <p:cNvPr id="16" name="TextBox 15">
            <a:extLst>
              <a:ext uri="{FF2B5EF4-FFF2-40B4-BE49-F238E27FC236}">
                <a16:creationId xmlns:a16="http://schemas.microsoft.com/office/drawing/2014/main" id="{A96611CA-404C-4F6F-87DE-75BA16D4C8C6}"/>
              </a:ext>
            </a:extLst>
          </p:cNvPr>
          <p:cNvSpPr txBox="1"/>
          <p:nvPr>
            <p:custDataLst>
              <p:tags r:id="rId3"/>
            </p:custDataLst>
          </p:nvPr>
        </p:nvSpPr>
        <p:spPr>
          <a:xfrm>
            <a:off x="7701464" y="1389753"/>
            <a:ext cx="3060700" cy="369332"/>
          </a:xfrm>
          <a:prstGeom prst="rect">
            <a:avLst/>
          </a:prstGeom>
          <a:noFill/>
        </p:spPr>
        <p:txBody>
          <a:bodyPr wrap="square" rtlCol="0">
            <a:spAutoFit/>
          </a:bodyPr>
          <a:lstStyle/>
          <a:p>
            <a:pPr algn="ctr"/>
            <a:r>
              <a:rPr lang="fr-CA" b="1" i="1" dirty="0">
                <a:latin typeface="Arial" panose="020B0604020202020204" pitchFamily="34" charset="0"/>
                <a:cs typeface="Arial" panose="020B0604020202020204" pitchFamily="34" charset="0"/>
              </a:rPr>
              <a:t>Les éléments constitutifs</a:t>
            </a:r>
          </a:p>
        </p:txBody>
      </p:sp>
      <p:sp>
        <p:nvSpPr>
          <p:cNvPr id="8" name="Hexagon 7">
            <a:extLst>
              <a:ext uri="{FF2B5EF4-FFF2-40B4-BE49-F238E27FC236}">
                <a16:creationId xmlns:a16="http://schemas.microsoft.com/office/drawing/2014/main" id="{DDD0E335-B4FA-440D-A658-F0EDCDED0EF7}"/>
              </a:ext>
            </a:extLst>
          </p:cNvPr>
          <p:cNvSpPr/>
          <p:nvPr>
            <p:custDataLst>
              <p:tags r:id="rId4"/>
            </p:custDataLst>
          </p:nvPr>
        </p:nvSpPr>
        <p:spPr>
          <a:xfrm>
            <a:off x="7101859" y="189950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Établir la confiance</a:t>
            </a:r>
          </a:p>
        </p:txBody>
      </p:sp>
      <p:sp>
        <p:nvSpPr>
          <p:cNvPr id="9" name="Hexagon 8">
            <a:extLst>
              <a:ext uri="{FF2B5EF4-FFF2-40B4-BE49-F238E27FC236}">
                <a16:creationId xmlns:a16="http://schemas.microsoft.com/office/drawing/2014/main" id="{0C0AE40D-3647-4DB6-A7C3-B7EA2C3FB88B}"/>
              </a:ext>
            </a:extLst>
          </p:cNvPr>
          <p:cNvSpPr/>
          <p:nvPr>
            <p:custDataLst>
              <p:tags r:id="rId5"/>
            </p:custDataLst>
          </p:nvPr>
        </p:nvSpPr>
        <p:spPr>
          <a:xfrm>
            <a:off x="8421206" y="262877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Arial" panose="020B0604020202020204" pitchFamily="34" charset="0"/>
                <a:cs typeface="Arial" panose="020B0604020202020204" pitchFamily="34" charset="0"/>
              </a:rPr>
              <a:t>Contrôles fréquents</a:t>
            </a:r>
          </a:p>
        </p:txBody>
      </p:sp>
      <p:sp>
        <p:nvSpPr>
          <p:cNvPr id="10" name="Hexagon 9">
            <a:extLst>
              <a:ext uri="{FF2B5EF4-FFF2-40B4-BE49-F238E27FC236}">
                <a16:creationId xmlns:a16="http://schemas.microsoft.com/office/drawing/2014/main" id="{462E96BE-D95C-4368-9D99-D19FDF6C7E6F}"/>
              </a:ext>
            </a:extLst>
          </p:cNvPr>
          <p:cNvSpPr/>
          <p:nvPr>
            <p:custDataLst>
              <p:tags r:id="rId6"/>
            </p:custDataLst>
          </p:nvPr>
        </p:nvSpPr>
        <p:spPr>
          <a:xfrm>
            <a:off x="9757971" y="190446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Transparence</a:t>
            </a:r>
          </a:p>
        </p:txBody>
      </p:sp>
      <p:sp>
        <p:nvSpPr>
          <p:cNvPr id="11" name="Hexagon 10">
            <a:extLst>
              <a:ext uri="{FF2B5EF4-FFF2-40B4-BE49-F238E27FC236}">
                <a16:creationId xmlns:a16="http://schemas.microsoft.com/office/drawing/2014/main" id="{C936AAC1-0E8C-4B8B-BBB7-50C4B306218F}"/>
              </a:ext>
            </a:extLst>
          </p:cNvPr>
          <p:cNvSpPr/>
          <p:nvPr>
            <p:custDataLst>
              <p:tags r:id="rId7"/>
            </p:custDataLst>
          </p:nvPr>
        </p:nvSpPr>
        <p:spPr>
          <a:xfrm>
            <a:off x="9757971" y="336885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Règles d'engagement</a:t>
            </a:r>
          </a:p>
        </p:txBody>
      </p:sp>
      <p:sp>
        <p:nvSpPr>
          <p:cNvPr id="12" name="Hexagon 11">
            <a:extLst>
              <a:ext uri="{FF2B5EF4-FFF2-40B4-BE49-F238E27FC236}">
                <a16:creationId xmlns:a16="http://schemas.microsoft.com/office/drawing/2014/main" id="{768E2937-C90C-43CD-B651-292BEE8961B6}"/>
              </a:ext>
            </a:extLst>
          </p:cNvPr>
          <p:cNvSpPr/>
          <p:nvPr>
            <p:custDataLst>
              <p:tags r:id="rId8"/>
            </p:custDataLst>
          </p:nvPr>
        </p:nvSpPr>
        <p:spPr>
          <a:xfrm>
            <a:off x="8421206" y="410472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Empathie</a:t>
            </a:r>
          </a:p>
        </p:txBody>
      </p:sp>
      <p:sp>
        <p:nvSpPr>
          <p:cNvPr id="15" name="Hexagon 14">
            <a:extLst>
              <a:ext uri="{FF2B5EF4-FFF2-40B4-BE49-F238E27FC236}">
                <a16:creationId xmlns:a16="http://schemas.microsoft.com/office/drawing/2014/main" id="{9A3A061C-850C-4E9F-B5E6-9403F5FEBBA4}"/>
              </a:ext>
            </a:extLst>
          </p:cNvPr>
          <p:cNvSpPr/>
          <p:nvPr>
            <p:custDataLst>
              <p:tags r:id="rId9"/>
            </p:custDataLst>
          </p:nvPr>
        </p:nvSpPr>
        <p:spPr>
          <a:xfrm>
            <a:off x="7101165" y="336885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Interaction sociale</a:t>
            </a:r>
          </a:p>
        </p:txBody>
      </p:sp>
      <p:sp>
        <p:nvSpPr>
          <p:cNvPr id="13" name="Hexagon 12">
            <a:extLst>
              <a:ext uri="{FF2B5EF4-FFF2-40B4-BE49-F238E27FC236}">
                <a16:creationId xmlns:a16="http://schemas.microsoft.com/office/drawing/2014/main" id="{ABA0F2AF-C36C-476C-B45D-B07FDD564968}"/>
              </a:ext>
            </a:extLst>
          </p:cNvPr>
          <p:cNvSpPr/>
          <p:nvPr>
            <p:custDataLst>
              <p:tags r:id="rId10"/>
            </p:custDataLst>
          </p:nvPr>
        </p:nvSpPr>
        <p:spPr>
          <a:xfrm>
            <a:off x="7101165" y="482979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Reconnaissance et éloges</a:t>
            </a:r>
          </a:p>
        </p:txBody>
      </p:sp>
      <p:sp>
        <p:nvSpPr>
          <p:cNvPr id="14" name="Hexagon 13">
            <a:extLst>
              <a:ext uri="{FF2B5EF4-FFF2-40B4-BE49-F238E27FC236}">
                <a16:creationId xmlns:a16="http://schemas.microsoft.com/office/drawing/2014/main" id="{FDCB255D-C5FE-4127-BC5C-CCA41CF61F68}"/>
              </a:ext>
            </a:extLst>
          </p:cNvPr>
          <p:cNvSpPr/>
          <p:nvPr>
            <p:custDataLst>
              <p:tags r:id="rId11"/>
            </p:custDataLst>
          </p:nvPr>
        </p:nvSpPr>
        <p:spPr>
          <a:xfrm>
            <a:off x="9757971" y="483895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Arial" panose="020B0604020202020204" pitchFamily="34" charset="0"/>
                <a:cs typeface="Arial" panose="020B0604020202020204" pitchFamily="34" charset="0"/>
              </a:rPr>
              <a:t>Être conscient</a:t>
            </a:r>
          </a:p>
        </p:txBody>
      </p:sp>
    </p:spTree>
    <p:extLst>
      <p:ext uri="{BB962C8B-B14F-4D97-AF65-F5344CB8AC3E}">
        <p14:creationId xmlns:p14="http://schemas.microsoft.com/office/powerpoint/2010/main" val="2629830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4292-B564-42A1-87E0-C35F7892D6D3}"/>
              </a:ext>
            </a:extLst>
          </p:cNvPr>
          <p:cNvSpPr>
            <a:spLocks noGrp="1"/>
          </p:cNvSpPr>
          <p:nvPr>
            <p:ph type="title"/>
            <p:custDataLst>
              <p:tags r:id="rId1"/>
            </p:custDataLst>
          </p:nvPr>
        </p:nvSpPr>
        <p:spPr/>
        <p:txBody>
          <a:bodyPr/>
          <a:lstStyle/>
          <a:p>
            <a:r>
              <a:rPr lang="fr-CA" dirty="0"/>
              <a:t>S'équiper pour réussir</a:t>
            </a:r>
          </a:p>
        </p:txBody>
      </p:sp>
      <p:grpSp>
        <p:nvGrpSpPr>
          <p:cNvPr id="95" name="Group 94" descr="Chart with ''you'' in the middle, splitting up in 4 categories : Attend, Plan, Anticipate, and Review, which all include ways to achieve these. ">
            <a:extLst>
              <a:ext uri="{FF2B5EF4-FFF2-40B4-BE49-F238E27FC236}">
                <a16:creationId xmlns:a16="http://schemas.microsoft.com/office/drawing/2014/main" id="{75ED06EC-ACE2-45AA-9474-A44684B0749A}"/>
              </a:ext>
            </a:extLst>
          </p:cNvPr>
          <p:cNvGrpSpPr/>
          <p:nvPr>
            <p:custDataLst>
              <p:tags r:id="rId2"/>
            </p:custDataLst>
          </p:nvPr>
        </p:nvGrpSpPr>
        <p:grpSpPr>
          <a:xfrm>
            <a:off x="606175" y="1473126"/>
            <a:ext cx="11486508" cy="4900027"/>
            <a:chOff x="672338" y="1400812"/>
            <a:chExt cx="11486508" cy="4900027"/>
          </a:xfrm>
        </p:grpSpPr>
        <p:cxnSp>
          <p:nvCxnSpPr>
            <p:cNvPr id="22" name="Straight Connector 21">
              <a:extLst>
                <a:ext uri="{FF2B5EF4-FFF2-40B4-BE49-F238E27FC236}">
                  <a16:creationId xmlns:a16="http://schemas.microsoft.com/office/drawing/2014/main" id="{0AAF9BE2-E292-4B99-8604-3FEA1285D861}"/>
                </a:ext>
              </a:extLst>
            </p:cNvPr>
            <p:cNvCxnSpPr>
              <a:cxnSpLocks/>
              <a:stCxn id="3" idx="1"/>
            </p:cNvCxnSpPr>
            <p:nvPr/>
          </p:nvCxnSpPr>
          <p:spPr>
            <a:xfrm flipH="1" flipV="1">
              <a:off x="4999893" y="2969299"/>
              <a:ext cx="477906" cy="26676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F3A06C-C98D-44F6-BB55-A3E3C8D3BE14}"/>
                </a:ext>
              </a:extLst>
            </p:cNvPr>
            <p:cNvCxnSpPr>
              <a:cxnSpLocks/>
              <a:stCxn id="3" idx="7"/>
            </p:cNvCxnSpPr>
            <p:nvPr/>
          </p:nvCxnSpPr>
          <p:spPr>
            <a:xfrm flipV="1">
              <a:off x="6577929" y="2994901"/>
              <a:ext cx="489411" cy="24115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0EC133-E111-474A-A837-CB5F69034959}"/>
                </a:ext>
              </a:extLst>
            </p:cNvPr>
            <p:cNvCxnSpPr>
              <a:cxnSpLocks/>
              <a:stCxn id="3" idx="3"/>
            </p:cNvCxnSpPr>
            <p:nvPr/>
          </p:nvCxnSpPr>
          <p:spPr>
            <a:xfrm flipH="1">
              <a:off x="4986427" y="3863099"/>
              <a:ext cx="491372" cy="36788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438EFE-EF2D-4340-8909-5E31635F1E65}"/>
                </a:ext>
              </a:extLst>
            </p:cNvPr>
            <p:cNvCxnSpPr>
              <a:cxnSpLocks/>
              <a:stCxn id="3" idx="5"/>
            </p:cNvCxnSpPr>
            <p:nvPr/>
          </p:nvCxnSpPr>
          <p:spPr>
            <a:xfrm>
              <a:off x="6577929" y="3863099"/>
              <a:ext cx="592487" cy="43210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E724524-15B1-4B11-A9F0-1A25CDB055F5}"/>
                </a:ext>
              </a:extLst>
            </p:cNvPr>
            <p:cNvCxnSpPr>
              <a:cxnSpLocks/>
              <a:stCxn id="6" idx="0"/>
              <a:endCxn id="12" idx="2"/>
            </p:cNvCxnSpPr>
            <p:nvPr/>
          </p:nvCxnSpPr>
          <p:spPr>
            <a:xfrm flipH="1" flipV="1">
              <a:off x="4240711" y="2167549"/>
              <a:ext cx="106041" cy="164861"/>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A08ACF9-E869-4E4A-8084-55DE24A363A9}"/>
                </a:ext>
              </a:extLst>
            </p:cNvPr>
            <p:cNvCxnSpPr>
              <a:cxnSpLocks/>
              <a:endCxn id="14" idx="3"/>
            </p:cNvCxnSpPr>
            <p:nvPr/>
          </p:nvCxnSpPr>
          <p:spPr>
            <a:xfrm flipH="1" flipV="1">
              <a:off x="2918293" y="2433787"/>
              <a:ext cx="878394" cy="18156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877085-0FEB-437A-B02D-D6F1AB12EBA8}"/>
                </a:ext>
              </a:extLst>
            </p:cNvPr>
            <p:cNvCxnSpPr>
              <a:cxnSpLocks/>
              <a:stCxn id="6" idx="3"/>
              <a:endCxn id="13" idx="3"/>
            </p:cNvCxnSpPr>
            <p:nvPr/>
          </p:nvCxnSpPr>
          <p:spPr>
            <a:xfrm flipH="1">
              <a:off x="3018777" y="3089313"/>
              <a:ext cx="777910" cy="45395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58360-52CD-4C6A-A769-7C3BCBE09B0A}"/>
                </a:ext>
              </a:extLst>
            </p:cNvPr>
            <p:cNvCxnSpPr>
              <a:cxnSpLocks/>
              <a:stCxn id="7" idx="2"/>
              <a:endCxn id="10" idx="3"/>
            </p:cNvCxnSpPr>
            <p:nvPr/>
          </p:nvCxnSpPr>
          <p:spPr>
            <a:xfrm flipH="1">
              <a:off x="2962757" y="4418165"/>
              <a:ext cx="606085" cy="194655"/>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A7A824-1496-479D-A7A2-28AAFD05CB1E}"/>
                </a:ext>
              </a:extLst>
            </p:cNvPr>
            <p:cNvCxnSpPr>
              <a:cxnSpLocks/>
              <a:stCxn id="7" idx="3"/>
              <a:endCxn id="9" idx="3"/>
            </p:cNvCxnSpPr>
            <p:nvPr/>
          </p:nvCxnSpPr>
          <p:spPr>
            <a:xfrm flipH="1">
              <a:off x="3125346" y="4731684"/>
              <a:ext cx="671341" cy="74203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C9A0241-E804-4B41-8788-9468B032CB5E}"/>
                </a:ext>
              </a:extLst>
            </p:cNvPr>
            <p:cNvCxnSpPr>
              <a:cxnSpLocks/>
              <a:stCxn id="7" idx="4"/>
              <a:endCxn id="11" idx="0"/>
            </p:cNvCxnSpPr>
            <p:nvPr/>
          </p:nvCxnSpPr>
          <p:spPr>
            <a:xfrm flipH="1">
              <a:off x="4344239" y="4861548"/>
              <a:ext cx="2513" cy="91943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915F21-8E91-4F33-BCCA-EEBE5F056168}"/>
                </a:ext>
              </a:extLst>
            </p:cNvPr>
            <p:cNvCxnSpPr>
              <a:cxnSpLocks/>
              <a:stCxn id="5" idx="4"/>
            </p:cNvCxnSpPr>
            <p:nvPr/>
          </p:nvCxnSpPr>
          <p:spPr>
            <a:xfrm>
              <a:off x="7720481" y="4861549"/>
              <a:ext cx="0" cy="72420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B550355-11C0-42FC-A011-18A1858ACA34}"/>
                </a:ext>
              </a:extLst>
            </p:cNvPr>
            <p:cNvCxnSpPr>
              <a:stCxn id="5" idx="5"/>
            </p:cNvCxnSpPr>
            <p:nvPr/>
          </p:nvCxnSpPr>
          <p:spPr>
            <a:xfrm>
              <a:off x="8270546" y="4731685"/>
              <a:ext cx="633659" cy="58959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23ED8E-8FCC-4FC3-B632-791CB50D9A16}"/>
                </a:ext>
              </a:extLst>
            </p:cNvPr>
            <p:cNvCxnSpPr>
              <a:cxnSpLocks/>
              <a:stCxn id="5" idx="6"/>
              <a:endCxn id="15" idx="1"/>
            </p:cNvCxnSpPr>
            <p:nvPr/>
          </p:nvCxnSpPr>
          <p:spPr>
            <a:xfrm>
              <a:off x="8498391" y="4418166"/>
              <a:ext cx="965857" cy="33674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C9AB1D-2FC8-4938-B4AF-3684D135CF94}"/>
                </a:ext>
              </a:extLst>
            </p:cNvPr>
            <p:cNvCxnSpPr>
              <a:stCxn id="4" idx="7"/>
            </p:cNvCxnSpPr>
            <p:nvPr/>
          </p:nvCxnSpPr>
          <p:spPr>
            <a:xfrm flipV="1">
              <a:off x="8270546" y="2115901"/>
              <a:ext cx="200214" cy="346373"/>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C3A5ADF-5F7A-48A0-8875-32838D048F4F}"/>
                </a:ext>
              </a:extLst>
            </p:cNvPr>
            <p:cNvCxnSpPr>
              <a:cxnSpLocks/>
              <a:endCxn id="19" idx="1"/>
            </p:cNvCxnSpPr>
            <p:nvPr/>
          </p:nvCxnSpPr>
          <p:spPr>
            <a:xfrm flipV="1">
              <a:off x="8470760" y="2225355"/>
              <a:ext cx="798087" cy="40422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DB1D14A-BA5F-4AE9-99F9-16B16D9043F0}"/>
                </a:ext>
              </a:extLst>
            </p:cNvPr>
            <p:cNvCxnSpPr>
              <a:cxnSpLocks/>
              <a:stCxn id="4" idx="5"/>
              <a:endCxn id="20" idx="1"/>
            </p:cNvCxnSpPr>
            <p:nvPr/>
          </p:nvCxnSpPr>
          <p:spPr>
            <a:xfrm>
              <a:off x="8270546" y="3089313"/>
              <a:ext cx="592487" cy="237531"/>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BE14FE4-A5A4-46E8-8932-A7EEEA14B718}"/>
                </a:ext>
              </a:extLst>
            </p:cNvPr>
            <p:cNvSpPr/>
            <p:nvPr/>
          </p:nvSpPr>
          <p:spPr>
            <a:xfrm>
              <a:off x="5249954" y="3106196"/>
              <a:ext cx="1555820" cy="8867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800" dirty="0">
                  <a:solidFill>
                    <a:schemeClr val="tx1"/>
                  </a:solidFill>
                  <a:latin typeface="Arial" panose="020B0604020202020204" pitchFamily="34" charset="0"/>
                  <a:cs typeface="Arial" panose="020B0604020202020204" pitchFamily="34" charset="0"/>
                </a:rPr>
                <a:t>Vous</a:t>
              </a:r>
            </a:p>
          </p:txBody>
        </p:sp>
        <p:sp>
          <p:nvSpPr>
            <p:cNvPr id="4" name="Oval 3">
              <a:extLst>
                <a:ext uri="{FF2B5EF4-FFF2-40B4-BE49-F238E27FC236}">
                  <a16:creationId xmlns:a16="http://schemas.microsoft.com/office/drawing/2014/main" id="{23BD6127-51A4-4639-9311-475EA0DBC382}"/>
                </a:ext>
              </a:extLst>
            </p:cNvPr>
            <p:cNvSpPr/>
            <p:nvPr/>
          </p:nvSpPr>
          <p:spPr>
            <a:xfrm>
              <a:off x="6942571" y="2332410"/>
              <a:ext cx="1555820" cy="886767"/>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Arial" panose="020B0604020202020204" pitchFamily="34" charset="0"/>
                  <a:cs typeface="Arial" panose="020B0604020202020204" pitchFamily="34" charset="0"/>
                </a:rPr>
                <a:t>Révisez</a:t>
              </a:r>
            </a:p>
          </p:txBody>
        </p:sp>
        <p:sp>
          <p:nvSpPr>
            <p:cNvPr id="5" name="Oval 4">
              <a:extLst>
                <a:ext uri="{FF2B5EF4-FFF2-40B4-BE49-F238E27FC236}">
                  <a16:creationId xmlns:a16="http://schemas.microsoft.com/office/drawing/2014/main" id="{25993ADE-C0E3-4A0D-8C69-B727FBA05803}"/>
                </a:ext>
              </a:extLst>
            </p:cNvPr>
            <p:cNvSpPr/>
            <p:nvPr/>
          </p:nvSpPr>
          <p:spPr>
            <a:xfrm>
              <a:off x="6942571" y="3974782"/>
              <a:ext cx="1555820" cy="8867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Anticipez</a:t>
              </a:r>
            </a:p>
          </p:txBody>
        </p:sp>
        <p:sp>
          <p:nvSpPr>
            <p:cNvPr id="6" name="Oval 5">
              <a:extLst>
                <a:ext uri="{FF2B5EF4-FFF2-40B4-BE49-F238E27FC236}">
                  <a16:creationId xmlns:a16="http://schemas.microsoft.com/office/drawing/2014/main" id="{514A5A59-28E4-4E25-8705-5578DBAE467E}"/>
                </a:ext>
              </a:extLst>
            </p:cNvPr>
            <p:cNvSpPr/>
            <p:nvPr/>
          </p:nvSpPr>
          <p:spPr>
            <a:xfrm>
              <a:off x="3568842" y="2332410"/>
              <a:ext cx="1555820" cy="8867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Assistez</a:t>
              </a:r>
            </a:p>
          </p:txBody>
        </p:sp>
        <p:sp>
          <p:nvSpPr>
            <p:cNvPr id="7" name="Oval 6">
              <a:extLst>
                <a:ext uri="{FF2B5EF4-FFF2-40B4-BE49-F238E27FC236}">
                  <a16:creationId xmlns:a16="http://schemas.microsoft.com/office/drawing/2014/main" id="{384DE798-7080-4C8D-8146-9E258C759A97}"/>
                </a:ext>
              </a:extLst>
            </p:cNvPr>
            <p:cNvSpPr/>
            <p:nvPr/>
          </p:nvSpPr>
          <p:spPr>
            <a:xfrm>
              <a:off x="3568842" y="3974781"/>
              <a:ext cx="1555820" cy="88676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Arial" panose="020B0604020202020204" pitchFamily="34" charset="0"/>
                  <a:cs typeface="Arial" panose="020B0604020202020204" pitchFamily="34" charset="0"/>
                </a:rPr>
                <a:t>Planifiez</a:t>
              </a:r>
            </a:p>
          </p:txBody>
        </p:sp>
        <p:sp>
          <p:nvSpPr>
            <p:cNvPr id="9" name="TextBox 8">
              <a:extLst>
                <a:ext uri="{FF2B5EF4-FFF2-40B4-BE49-F238E27FC236}">
                  <a16:creationId xmlns:a16="http://schemas.microsoft.com/office/drawing/2014/main" id="{965725A6-16F0-4750-9A5B-70A2E7B126E8}"/>
                </a:ext>
              </a:extLst>
            </p:cNvPr>
            <p:cNvSpPr txBox="1"/>
            <p:nvPr/>
          </p:nvSpPr>
          <p:spPr>
            <a:xfrm>
              <a:off x="1376932" y="5116169"/>
              <a:ext cx="1748414" cy="715089"/>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Organisez des réunions d'équipe récurrentes.</a:t>
              </a:r>
            </a:p>
          </p:txBody>
        </p:sp>
        <p:sp>
          <p:nvSpPr>
            <p:cNvPr id="10" name="TextBox 9">
              <a:extLst>
                <a:ext uri="{FF2B5EF4-FFF2-40B4-BE49-F238E27FC236}">
                  <a16:creationId xmlns:a16="http://schemas.microsoft.com/office/drawing/2014/main" id="{FA62099A-5525-474C-8967-0E1126F9828B}"/>
                </a:ext>
              </a:extLst>
            </p:cNvPr>
            <p:cNvSpPr txBox="1"/>
            <p:nvPr/>
          </p:nvSpPr>
          <p:spPr>
            <a:xfrm>
              <a:off x="672338" y="4255275"/>
              <a:ext cx="2290419" cy="715089"/>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Établissez des points de contact avec les membres de l'équipe.</a:t>
              </a:r>
            </a:p>
          </p:txBody>
        </p:sp>
        <p:sp>
          <p:nvSpPr>
            <p:cNvPr id="11" name="TextBox 10">
              <a:extLst>
                <a:ext uri="{FF2B5EF4-FFF2-40B4-BE49-F238E27FC236}">
                  <a16:creationId xmlns:a16="http://schemas.microsoft.com/office/drawing/2014/main" id="{55E9A25A-A7FA-48FD-99C4-0BF7E01A129E}"/>
                </a:ext>
              </a:extLst>
            </p:cNvPr>
            <p:cNvSpPr txBox="1"/>
            <p:nvPr/>
          </p:nvSpPr>
          <p:spPr>
            <a:xfrm>
              <a:off x="3470032" y="5780980"/>
              <a:ext cx="1748414" cy="510778"/>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Tenez vos chartes d'équipe à jour.</a:t>
              </a:r>
            </a:p>
          </p:txBody>
        </p:sp>
        <p:sp>
          <p:nvSpPr>
            <p:cNvPr id="12" name="TextBox 11">
              <a:extLst>
                <a:ext uri="{FF2B5EF4-FFF2-40B4-BE49-F238E27FC236}">
                  <a16:creationId xmlns:a16="http://schemas.microsoft.com/office/drawing/2014/main" id="{0B889BA4-A29C-4881-B7BB-8F60827064B8}"/>
                </a:ext>
              </a:extLst>
            </p:cNvPr>
            <p:cNvSpPr txBox="1"/>
            <p:nvPr/>
          </p:nvSpPr>
          <p:spPr>
            <a:xfrm>
              <a:off x="2918293" y="1452460"/>
              <a:ext cx="2644836"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articipez à toutes les activités d'engagement spécifiques au projet.</a:t>
              </a:r>
            </a:p>
          </p:txBody>
        </p:sp>
        <p:sp>
          <p:nvSpPr>
            <p:cNvPr id="13" name="TextBox 12">
              <a:extLst>
                <a:ext uri="{FF2B5EF4-FFF2-40B4-BE49-F238E27FC236}">
                  <a16:creationId xmlns:a16="http://schemas.microsoft.com/office/drawing/2014/main" id="{D1C35FD5-5B2D-49DF-9B67-BF5D528B3F69}"/>
                </a:ext>
              </a:extLst>
            </p:cNvPr>
            <p:cNvSpPr txBox="1"/>
            <p:nvPr/>
          </p:nvSpPr>
          <p:spPr>
            <a:xfrm>
              <a:off x="920346" y="3185724"/>
              <a:ext cx="2098431"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articipez et communiquez lors de toute activité de collecte d'informations.</a:t>
              </a:r>
            </a:p>
          </p:txBody>
        </p:sp>
        <p:sp>
          <p:nvSpPr>
            <p:cNvPr id="14" name="TextBox 13">
              <a:extLst>
                <a:ext uri="{FF2B5EF4-FFF2-40B4-BE49-F238E27FC236}">
                  <a16:creationId xmlns:a16="http://schemas.microsoft.com/office/drawing/2014/main" id="{20DF34DF-C007-47CC-9F55-9211A2853CAF}"/>
                </a:ext>
              </a:extLst>
            </p:cNvPr>
            <p:cNvSpPr txBox="1"/>
            <p:nvPr/>
          </p:nvSpPr>
          <p:spPr>
            <a:xfrm>
              <a:off x="819862" y="2076242"/>
              <a:ext cx="2098431"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Assistez aux réunions du réseau de gestion existant et tirez-en parti.</a:t>
              </a:r>
            </a:p>
          </p:txBody>
        </p:sp>
        <p:sp>
          <p:nvSpPr>
            <p:cNvPr id="15" name="TextBox 14">
              <a:extLst>
                <a:ext uri="{FF2B5EF4-FFF2-40B4-BE49-F238E27FC236}">
                  <a16:creationId xmlns:a16="http://schemas.microsoft.com/office/drawing/2014/main" id="{AC7D6365-F105-4F93-8BE0-B43D1CB88581}"/>
                </a:ext>
              </a:extLst>
            </p:cNvPr>
            <p:cNvSpPr txBox="1"/>
            <p:nvPr/>
          </p:nvSpPr>
          <p:spPr>
            <a:xfrm>
              <a:off x="9464248" y="4295206"/>
              <a:ext cx="2694598" cy="919401"/>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Faites connaissance avec votre équipe de projet intégrée et les représentants des secteurs habilitants.</a:t>
              </a:r>
            </a:p>
          </p:txBody>
        </p:sp>
        <p:sp>
          <p:nvSpPr>
            <p:cNvPr id="16" name="TextBox 15">
              <a:extLst>
                <a:ext uri="{FF2B5EF4-FFF2-40B4-BE49-F238E27FC236}">
                  <a16:creationId xmlns:a16="http://schemas.microsoft.com/office/drawing/2014/main" id="{D76EFD0E-2325-48A0-9879-F8CA77F60151}"/>
                </a:ext>
              </a:extLst>
            </p:cNvPr>
            <p:cNvSpPr txBox="1"/>
            <p:nvPr/>
          </p:nvSpPr>
          <p:spPr>
            <a:xfrm>
              <a:off x="6025174" y="1400812"/>
              <a:ext cx="3082247" cy="715089"/>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Consultez l'ensemble des communications, des outils et du matériel de formation spécifiques au projet.</a:t>
              </a:r>
            </a:p>
          </p:txBody>
        </p:sp>
        <p:sp>
          <p:nvSpPr>
            <p:cNvPr id="17" name="TextBox 16">
              <a:extLst>
                <a:ext uri="{FF2B5EF4-FFF2-40B4-BE49-F238E27FC236}">
                  <a16:creationId xmlns:a16="http://schemas.microsoft.com/office/drawing/2014/main" id="{97308898-6812-42B1-AFE8-3E8A057CA97B}"/>
                </a:ext>
              </a:extLst>
            </p:cNvPr>
            <p:cNvSpPr txBox="1"/>
            <p:nvPr/>
          </p:nvSpPr>
          <p:spPr>
            <a:xfrm>
              <a:off x="8815446" y="5321280"/>
              <a:ext cx="2613933" cy="715089"/>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Anticipez les questions spécifiques à l'équipe et préparez-vous à les poser à l'équipe de projet.</a:t>
              </a:r>
            </a:p>
          </p:txBody>
        </p:sp>
        <p:sp>
          <p:nvSpPr>
            <p:cNvPr id="18" name="TextBox 17">
              <a:extLst>
                <a:ext uri="{FF2B5EF4-FFF2-40B4-BE49-F238E27FC236}">
                  <a16:creationId xmlns:a16="http://schemas.microsoft.com/office/drawing/2014/main" id="{A22B9F5D-B46B-4677-AFEC-D0C7C6221434}"/>
                </a:ext>
              </a:extLst>
            </p:cNvPr>
            <p:cNvSpPr txBox="1"/>
            <p:nvPr/>
          </p:nvSpPr>
          <p:spPr>
            <a:xfrm>
              <a:off x="6162163" y="5585750"/>
              <a:ext cx="2308597" cy="715089"/>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Anticipez vos questions et obtenez des réponses avant d'engager votre équipe.</a:t>
              </a:r>
            </a:p>
          </p:txBody>
        </p:sp>
        <p:sp>
          <p:nvSpPr>
            <p:cNvPr id="19" name="TextBox 18">
              <a:extLst>
                <a:ext uri="{FF2B5EF4-FFF2-40B4-BE49-F238E27FC236}">
                  <a16:creationId xmlns:a16="http://schemas.microsoft.com/office/drawing/2014/main" id="{916B84F5-B707-4C77-9F7A-5FC4F52EC26C}"/>
                </a:ext>
              </a:extLst>
            </p:cNvPr>
            <p:cNvSpPr txBox="1"/>
            <p:nvPr/>
          </p:nvSpPr>
          <p:spPr>
            <a:xfrm>
              <a:off x="9268847" y="1765654"/>
              <a:ext cx="2359995" cy="919401"/>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renez connaissance du calendrier fourni et des étapes à venir ayant un impact sur votre équipe.</a:t>
              </a:r>
            </a:p>
          </p:txBody>
        </p:sp>
        <p:sp>
          <p:nvSpPr>
            <p:cNvPr id="20" name="TextBox 19">
              <a:extLst>
                <a:ext uri="{FF2B5EF4-FFF2-40B4-BE49-F238E27FC236}">
                  <a16:creationId xmlns:a16="http://schemas.microsoft.com/office/drawing/2014/main" id="{7ED49430-B819-4E13-BA9E-51EBDB47459D}"/>
                </a:ext>
              </a:extLst>
            </p:cNvPr>
            <p:cNvSpPr txBox="1"/>
            <p:nvPr/>
          </p:nvSpPr>
          <p:spPr>
            <a:xfrm>
              <a:off x="8863033" y="2969299"/>
              <a:ext cx="3090330" cy="715089"/>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Identifiez où sont hébergées toutes les ressources, telles qu'un canal MS Teams, un site web ou une lettre d'information.</a:t>
              </a:r>
            </a:p>
          </p:txBody>
        </p:sp>
      </p:grpSp>
    </p:spTree>
    <p:extLst>
      <p:ext uri="{BB962C8B-B14F-4D97-AF65-F5344CB8AC3E}">
        <p14:creationId xmlns:p14="http://schemas.microsoft.com/office/powerpoint/2010/main" val="3182586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E27B8-4E8C-76A8-8D70-79A07325600C}"/>
              </a:ext>
            </a:extLst>
          </p:cNvPr>
          <p:cNvSpPr>
            <a:spLocks noGrp="1"/>
          </p:cNvSpPr>
          <p:nvPr>
            <p:ph type="title"/>
            <p:custDataLst>
              <p:tags r:id="rId1"/>
            </p:custDataLst>
          </p:nvPr>
        </p:nvSpPr>
        <p:spPr/>
        <p:txBody>
          <a:bodyPr/>
          <a:lstStyle/>
          <a:p>
            <a:r>
              <a:rPr lang="en-CA" dirty="0"/>
              <a:t>Prochaines étapes</a:t>
            </a:r>
          </a:p>
        </p:txBody>
      </p:sp>
      <p:sp>
        <p:nvSpPr>
          <p:cNvPr id="3" name="TextBox 2">
            <a:extLst>
              <a:ext uri="{FF2B5EF4-FFF2-40B4-BE49-F238E27FC236}">
                <a16:creationId xmlns:a16="http://schemas.microsoft.com/office/drawing/2014/main" id="{63853EAE-6C40-7F6A-CD9C-4F90675A3F9D}"/>
              </a:ext>
            </a:extLst>
          </p:cNvPr>
          <p:cNvSpPr txBox="1"/>
          <p:nvPr>
            <p:custDataLst>
              <p:tags r:id="rId2"/>
            </p:custDataLst>
          </p:nvPr>
        </p:nvSpPr>
        <p:spPr>
          <a:xfrm>
            <a:off x="652553" y="1987250"/>
            <a:ext cx="10491847" cy="2585323"/>
          </a:xfrm>
          <a:prstGeom prst="rect">
            <a:avLst/>
          </a:prstGeom>
          <a:noFill/>
        </p:spPr>
        <p:txBody>
          <a:bodyPr wrap="square" rtlCol="0">
            <a:spAutoFit/>
          </a:bodyPr>
          <a:lstStyle/>
          <a:p>
            <a:pPr marL="285750" indent="-285750">
              <a:buFont typeface="Arial" panose="020B0604020202020204" pitchFamily="34" charset="0"/>
              <a:buChar char="•"/>
            </a:pPr>
            <a:r>
              <a:rPr lang="fr-CA" dirty="0"/>
              <a:t>Participez activement au processus de changement, soyez à l’affût des nouvelles et des informations concernant le changement en milieu de travail.</a:t>
            </a:r>
          </a:p>
          <a:p>
            <a:endParaRPr lang="fr-CA" dirty="0"/>
          </a:p>
          <a:p>
            <a:pPr marL="285750" indent="-285750">
              <a:buFont typeface="Arial" panose="020B0604020202020204" pitchFamily="34" charset="0"/>
              <a:buChar char="•"/>
            </a:pPr>
            <a:r>
              <a:rPr lang="fr-CA" dirty="0"/>
              <a:t>Acceptez votre rôle de gestionnaire dans le cadre de ce changement en milieu de travail. </a:t>
            </a:r>
          </a:p>
          <a:p>
            <a:pPr lvl="1"/>
            <a:endParaRPr lang="fr-CA" dirty="0"/>
          </a:p>
          <a:p>
            <a:pPr marL="285750" indent="-285750">
              <a:buFont typeface="Arial" panose="020B0604020202020204" pitchFamily="34" charset="0"/>
              <a:buChar char="•"/>
            </a:pPr>
            <a:r>
              <a:rPr lang="fr-CA" dirty="0"/>
              <a:t>Envisagez de suivre des formations sur les sujets suivants dans le cadre de votre plan d'apprentissage. L'École de la fonction publique du Canada offre plusieurs cours sur ces sujets : </a:t>
            </a:r>
          </a:p>
          <a:p>
            <a:pPr marL="742950" lvl="1" indent="-285750">
              <a:buFont typeface="Arial" panose="020B0604020202020204" pitchFamily="34" charset="0"/>
              <a:buChar char="•"/>
            </a:pPr>
            <a:r>
              <a:rPr lang="fr-CA" dirty="0"/>
              <a:t>Intelligence émotionnelle</a:t>
            </a:r>
          </a:p>
          <a:p>
            <a:pPr marL="742950" lvl="1" indent="-285750">
              <a:buFont typeface="Arial" panose="020B0604020202020204" pitchFamily="34" charset="0"/>
              <a:buChar char="•"/>
            </a:pPr>
            <a:r>
              <a:rPr lang="fr-CA" dirty="0"/>
              <a:t>Gestion du changement</a:t>
            </a:r>
          </a:p>
        </p:txBody>
      </p:sp>
    </p:spTree>
    <p:extLst>
      <p:ext uri="{BB962C8B-B14F-4D97-AF65-F5344CB8AC3E}">
        <p14:creationId xmlns:p14="http://schemas.microsoft.com/office/powerpoint/2010/main" val="2100399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8FF00-1347-4DA1-9437-1B4A0F154B78}"/>
              </a:ext>
            </a:extLst>
          </p:cNvPr>
          <p:cNvSpPr>
            <a:spLocks noGrp="1"/>
          </p:cNvSpPr>
          <p:nvPr>
            <p:ph type="title"/>
            <p:custDataLst>
              <p:tags r:id="rId1"/>
            </p:custDataLst>
          </p:nvPr>
        </p:nvSpPr>
        <p:spPr/>
        <p:txBody>
          <a:bodyPr/>
          <a:lstStyle/>
          <a:p>
            <a:r>
              <a:rPr lang="fr-CA" dirty="0"/>
              <a:t>Objectifs de la présentation</a:t>
            </a:r>
          </a:p>
        </p:txBody>
      </p:sp>
      <p:sp>
        <p:nvSpPr>
          <p:cNvPr id="4" name="TextBox 3">
            <a:extLst>
              <a:ext uri="{FF2B5EF4-FFF2-40B4-BE49-F238E27FC236}">
                <a16:creationId xmlns:a16="http://schemas.microsoft.com/office/drawing/2014/main" id="{1BF6AE7D-EA5B-2770-5162-CBDE59225782}"/>
              </a:ext>
            </a:extLst>
          </p:cNvPr>
          <p:cNvSpPr txBox="1"/>
          <p:nvPr>
            <p:custDataLst>
              <p:tags r:id="rId2"/>
            </p:custDataLst>
          </p:nvPr>
        </p:nvSpPr>
        <p:spPr>
          <a:xfrm>
            <a:off x="607102" y="1738859"/>
            <a:ext cx="11092721" cy="1754326"/>
          </a:xfrm>
          <a:prstGeom prst="rect">
            <a:avLst/>
          </a:prstGeom>
          <a:noFill/>
        </p:spPr>
        <p:txBody>
          <a:bodyPr wrap="square" rtlCol="0">
            <a:spAutoFit/>
          </a:bodyPr>
          <a:lstStyle/>
          <a:p>
            <a:pPr marL="285750" indent="-285750">
              <a:buFont typeface="Arial" panose="020B0604020202020204" pitchFamily="34" charset="0"/>
              <a:buChar char="•"/>
            </a:pPr>
            <a:r>
              <a:rPr lang="fr-CA" dirty="0"/>
              <a:t>Contextualiser votre changement en milieu de travail dans le cadre des objectifs du [</a:t>
            </a:r>
            <a:r>
              <a:rPr lang="fr-CA" dirty="0">
                <a:highlight>
                  <a:srgbClr val="FFFF00"/>
                </a:highlight>
              </a:rPr>
              <a:t>Nom de l’organisation] </a:t>
            </a:r>
            <a:r>
              <a:rPr lang="fr-CA" dirty="0"/>
              <a:t>et du gouvernement du Canada. </a:t>
            </a:r>
          </a:p>
          <a:p>
            <a:pPr marL="285750" indent="-285750">
              <a:buFont typeface="Arial" panose="020B0604020202020204" pitchFamily="34" charset="0"/>
              <a:buChar char="•"/>
            </a:pPr>
            <a:r>
              <a:rPr lang="fr-CA" dirty="0"/>
              <a:t>Décrire votre rôle en tant que gestionnaire de personnel dans le contexte d'un changement potentiellement difficile. </a:t>
            </a:r>
          </a:p>
          <a:p>
            <a:pPr marL="285750" indent="-285750">
              <a:buFont typeface="Arial" panose="020B0604020202020204" pitchFamily="34" charset="0"/>
              <a:buChar char="•"/>
            </a:pPr>
            <a:endParaRPr lang="fr-CA" dirty="0"/>
          </a:p>
          <a:p>
            <a:pPr marL="285750" indent="-285750">
              <a:buFont typeface="Arial" panose="020B0604020202020204" pitchFamily="34" charset="0"/>
              <a:buChar char="•"/>
            </a:pPr>
            <a:endParaRPr lang="fr-CA" dirty="0"/>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custDataLst>
              <p:tags r:id="rId1"/>
            </p:custDataLst>
          </p:nvPr>
        </p:nvSpPr>
        <p:spPr/>
        <p:txBody>
          <a:bodyPr>
            <a:normAutofit fontScale="90000"/>
          </a:bodyPr>
          <a:lstStyle/>
          <a:p>
            <a:r>
              <a:rPr lang="en-CA" dirty="0"/>
              <a:t>Le portefeuille d'espaces de bureaux du gouvernement du Canada</a:t>
            </a:r>
          </a:p>
        </p:txBody>
      </p:sp>
      <p:sp>
        <p:nvSpPr>
          <p:cNvPr id="4" name="TextBox 3">
            <a:extLst>
              <a:ext uri="{FF2B5EF4-FFF2-40B4-BE49-F238E27FC236}">
                <a16:creationId xmlns:a16="http://schemas.microsoft.com/office/drawing/2014/main" id="{093F3146-01EB-0F10-4FCB-E38AD840F002}"/>
              </a:ext>
            </a:extLst>
          </p:cNvPr>
          <p:cNvSpPr txBox="1"/>
          <p:nvPr>
            <p:custDataLst>
              <p:tags r:id="rId2"/>
            </p:custDataLst>
          </p:nvPr>
        </p:nvSpPr>
        <p:spPr>
          <a:xfrm>
            <a:off x="592827" y="1403352"/>
            <a:ext cx="11006345" cy="3416320"/>
          </a:xfrm>
          <a:prstGeom prst="rect">
            <a:avLst/>
          </a:prstGeom>
          <a:noFill/>
        </p:spPr>
        <p:txBody>
          <a:bodyPr wrap="square" rtlCol="0">
            <a:spAutoFit/>
          </a:bodyPr>
          <a:lstStyle/>
          <a:p>
            <a:r>
              <a:rPr lang="fr-CA" kern="100" dirty="0">
                <a:latin typeface="Calibri" panose="020F0502020204030204" pitchFamily="34" charset="0"/>
                <a:ea typeface="Calibri" panose="020F0502020204030204" pitchFamily="34" charset="0"/>
                <a:cs typeface="Times New Roman" panose="02020603050405020304" pitchFamily="18" charset="0"/>
              </a:rPr>
              <a:t>Dans le budget 2024, le gouvernement du Canada a présenté son plan de conversion des bureaux fédéraux sous-utilisés en logements. Ce plan consiste en partie à réduire son portefeuille de locaux à bureaux de 50 % sur dix ans. Cette optimisation consistera à se départir des espaces sous-utilisés et vacants. En plus d'être une réponse au </a:t>
            </a:r>
            <a:r>
              <a:rPr lang="fr-CA" kern="100" dirty="0">
                <a:latin typeface="Calibri" panose="020F0502020204030204" pitchFamily="34" charset="0"/>
                <a:ea typeface="Calibri" panose="020F0502020204030204" pitchFamily="34" charset="0"/>
                <a:cs typeface="Times New Roman" panose="02020603050405020304" pitchFamily="18" charset="0"/>
                <a:hlinkClick r:id="rId4"/>
              </a:rPr>
              <a:t>modèle de travail hybride commun </a:t>
            </a:r>
            <a:r>
              <a:rPr lang="fr-CA" kern="100" dirty="0">
                <a:latin typeface="Calibri" panose="020F0502020204030204" pitchFamily="34" charset="0"/>
                <a:ea typeface="Calibri" panose="020F0502020204030204" pitchFamily="34" charset="0"/>
                <a:cs typeface="Times New Roman" panose="02020603050405020304" pitchFamily="18" charset="0"/>
              </a:rPr>
              <a:t>du gouvernement, ce plan exige également de mettre en œuvre par défaut des points de travail non attribués dans les espaces de bureaux, ce qui signifie que :</a:t>
            </a:r>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postes de travail ne seront pas attribués.</a:t>
            </a: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bureaux fermés seront des salles de concentration ou de réunion, accessibles à tous.</a:t>
            </a:r>
          </a:p>
          <a:p>
            <a:endParaRPr lang="fr-CA" kern="100" dirty="0">
              <a:latin typeface="Calibri" panose="020F0502020204030204" pitchFamily="34" charset="0"/>
              <a:ea typeface="Calibri" panose="020F0502020204030204" pitchFamily="34" charset="0"/>
              <a:cs typeface="Times New Roman" panose="02020603050405020304" pitchFamily="18" charset="0"/>
            </a:endParaRPr>
          </a:p>
          <a:p>
            <a:r>
              <a:rPr lang="fr-CA" kern="100" dirty="0">
                <a:latin typeface="Calibri" panose="020F0502020204030204" pitchFamily="34" charset="0"/>
                <a:ea typeface="Calibri" panose="020F0502020204030204" pitchFamily="34" charset="0"/>
                <a:cs typeface="Times New Roman" panose="02020603050405020304" pitchFamily="18" charset="0"/>
              </a:rPr>
              <a:t>Même si chaque organisation et chaque groupe seront touchés différemment par cette politique, il faut reconnaître qu'elle pourrait constituer un changement majeur pour notre personnel. Il est important de réfléchir à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votre rôle de </a:t>
            </a:r>
            <a:r>
              <a:rPr lang="fr-CA" kern="100" dirty="0">
                <a:latin typeface="Calibri" panose="020F0502020204030204" pitchFamily="34" charset="0"/>
                <a:ea typeface="Calibri" panose="020F0502020204030204" pitchFamily="34" charset="0"/>
                <a:cs typeface="Times New Roman" panose="02020603050405020304" pitchFamily="18" charset="0"/>
              </a:rPr>
              <a:t>gestionnair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sein de votre organisation pour orienter ce changement. </a:t>
            </a:r>
          </a:p>
          <a:p>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80127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custDataLst>
              <p:tags r:id="rId1"/>
            </p:custDataLst>
          </p:nvPr>
        </p:nvSpPr>
        <p:spPr/>
        <p:txBody>
          <a:bodyPr>
            <a:normAutofit fontScale="90000"/>
          </a:bodyPr>
          <a:lstStyle/>
          <a:p>
            <a:r>
              <a:rPr lang="fr-CA" dirty="0"/>
              <a:t>Postes de travail non attribués par défaut : L'impact sur le portefeuille de locaux à bureaux du gouvernement du Canada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custDataLst>
              <p:tags r:id="rId2"/>
            </p:custDataLst>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2771065" y="2168083"/>
              <a:ext cx="3374110"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a:t>
              </a:r>
              <a:r>
                <a:rPr lang="fr-CA" b="1" dirty="0">
                  <a:solidFill>
                    <a:srgbClr val="000000"/>
                  </a:solidFill>
                  <a:latin typeface="Avenir Next LT Pro" panose="020B0504020202020204" pitchFamily="34" charset="0"/>
                </a:rPr>
                <a:t>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custDataLst>
              <p:tags r:id="rId3"/>
            </p:custDataLst>
          </p:nvPr>
        </p:nvGrpSpPr>
        <p:grpSpPr>
          <a:xfrm>
            <a:off x="6324275" y="2007880"/>
            <a:ext cx="4702573" cy="3902512"/>
            <a:chOff x="2306020" y="2139252"/>
            <a:chExt cx="4702573" cy="3902512"/>
          </a:xfrm>
        </p:grpSpPr>
        <p:sp>
          <p:nvSpPr>
            <p:cNvPr id="228" name="TextBox 45">
              <a:extLst>
                <a:ext uri="{FF2B5EF4-FFF2-40B4-BE49-F238E27FC236}">
                  <a16:creationId xmlns:a16="http://schemas.microsoft.com/office/drawing/2014/main" id="{2C5C7B4D-E0D3-2A6C-661D-EE6F09B9B0CD}"/>
                </a:ext>
              </a:extLst>
            </p:cNvPr>
            <p:cNvSpPr txBox="1"/>
            <p:nvPr/>
          </p:nvSpPr>
          <p:spPr>
            <a:xfrm>
              <a:off x="3005004" y="2139252"/>
              <a:ext cx="3551992"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non 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custDataLst>
              <p:tags r:id="rId4"/>
            </p:custDataLst>
          </p:nvPr>
        </p:nvSpPr>
        <p:spPr>
          <a:xfrm>
            <a:off x="8860512" y="3402768"/>
            <a:ext cx="1703637" cy="1477328"/>
          </a:xfrm>
          <a:prstGeom prst="rect">
            <a:avLst/>
          </a:prstGeom>
          <a:noFill/>
        </p:spPr>
        <p:txBody>
          <a:bodyPr wrap="square" rtlCol="0">
            <a:spAutoFit/>
          </a:bodyPr>
          <a:lstStyle/>
          <a:p>
            <a:pPr algn="ctr">
              <a:defRPr/>
            </a:pPr>
            <a:r>
              <a:rPr lang="fr-CA" b="1" dirty="0">
                <a:solidFill>
                  <a:srgbClr val="000000"/>
                </a:solidFill>
                <a:latin typeface="Avenir Next LT Pro" panose="020B0504020202020204" pitchFamily="34" charset="0"/>
              </a:rPr>
              <a:t>Édifice libéré avec possibilité de conversion en logements</a:t>
            </a:r>
          </a:p>
        </p:txBody>
      </p:sp>
    </p:spTree>
    <p:extLst>
      <p:ext uri="{BB962C8B-B14F-4D97-AF65-F5344CB8AC3E}">
        <p14:creationId xmlns:p14="http://schemas.microsoft.com/office/powerpoint/2010/main" val="2281786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Notre vision</a:t>
            </a:r>
          </a:p>
        </p:txBody>
      </p:sp>
      <p:sp>
        <p:nvSpPr>
          <p:cNvPr id="3" name="ZoneTexte 2">
            <a:extLst>
              <a:ext uri="{FF2B5EF4-FFF2-40B4-BE49-F238E27FC236}">
                <a16:creationId xmlns:a16="http://schemas.microsoft.com/office/drawing/2014/main" id="{6E6CE6DC-0817-8A8E-1F32-841455836C35}"/>
              </a:ext>
            </a:extLst>
          </p:cNvPr>
          <p:cNvSpPr txBox="1"/>
          <p:nvPr>
            <p:custDataLst>
              <p:tags r:id="rId2"/>
            </p:custDataLst>
          </p:nvPr>
        </p:nvSpPr>
        <p:spPr>
          <a:xfrm>
            <a:off x="617838" y="1940011"/>
            <a:ext cx="5955957" cy="369332"/>
          </a:xfrm>
          <a:prstGeom prst="rect">
            <a:avLst/>
          </a:prstGeom>
          <a:noFill/>
        </p:spPr>
        <p:txBody>
          <a:bodyPr wrap="square" rtlCol="0">
            <a:spAutoFit/>
          </a:bodyPr>
          <a:lstStyle/>
          <a:p>
            <a:r>
              <a:rPr lang="fr-CA" dirty="0">
                <a:highlight>
                  <a:srgbClr val="FFFF00"/>
                </a:highlight>
              </a:rPr>
              <a:t>Insérez la vision du projet</a:t>
            </a:r>
          </a:p>
        </p:txBody>
      </p:sp>
    </p:spTree>
    <p:extLst>
      <p:ext uri="{BB962C8B-B14F-4D97-AF65-F5344CB8AC3E}">
        <p14:creationId xmlns:p14="http://schemas.microsoft.com/office/powerpoint/2010/main" val="223308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Qu'est-ce que cela signifie pour notre organis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custDataLst>
              <p:tags r:id="rId2"/>
            </p:custDataLst>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7" name="Rectangle 116">
            <a:extLst>
              <a:ext uri="{FF2B5EF4-FFF2-40B4-BE49-F238E27FC236}">
                <a16:creationId xmlns:a16="http://schemas.microsoft.com/office/drawing/2014/main" id="{C9DAC2A6-C89F-2DC3-5552-32890189A83F}"/>
              </a:ext>
            </a:extLst>
          </p:cNvPr>
          <p:cNvSpPr/>
          <p:nvPr>
            <p:custDataLst>
              <p:tags r:id="rId3"/>
            </p:custDataLst>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Maintenant</a:t>
            </a:r>
            <a:endParaRPr kumimoji="0" lang="fr-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custDataLst>
              <p:tags r:id="rId4"/>
            </p:custDataLst>
          </p:nvPr>
        </p:nvSpPr>
        <p:spPr>
          <a:xfrm>
            <a:off x="791627" y="2303572"/>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Adresse</a:t>
            </a:r>
            <a:endParaRPr lang="fr-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custDataLst>
              <p:tags r:id="rId5"/>
            </p:custDataLst>
          </p:nvPr>
        </p:nvSpPr>
        <p:spPr>
          <a:xfrm>
            <a:off x="791626" y="277970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mbre d'étage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custDataLst>
              <p:tags r:id="rId6"/>
            </p:custDataLst>
          </p:nvPr>
        </p:nvSpPr>
        <p:spPr>
          <a:xfrm>
            <a:off x="794675" y="3307626"/>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custDataLst>
              <p:tags r:id="rId7"/>
            </p:custDataLst>
          </p:nvPr>
        </p:nvSpPr>
        <p:spPr>
          <a:xfrm>
            <a:off x="940712" y="3473450"/>
            <a:ext cx="1515851" cy="83099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1:1 attribué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custDataLst>
              <p:tags r:id="rId8"/>
            </p:custDataLst>
          </p:nvPr>
        </p:nvPicPr>
        <p:blipFill>
          <a:blip r:embed="rId23" cstate="screen">
            <a:extLst>
              <a:ext uri="{28A0092B-C50C-407E-A947-70E740481C1C}">
                <a14:useLocalDpi xmlns:a14="http://schemas.microsoft.com/office/drawing/2010/main" val="0"/>
              </a:ext>
            </a:extLst>
          </a:blip>
          <a:stretch>
            <a:fillRect/>
          </a:stretch>
        </p:blipFill>
        <p:spPr>
          <a:xfrm>
            <a:off x="3038946" y="3408752"/>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custDataLst>
              <p:tags r:id="rId9"/>
            </p:custDataLst>
          </p:nvPr>
        </p:nvPicPr>
        <p:blipFill>
          <a:blip r:embed="rId24" cstate="screen">
            <a:extLst>
              <a:ext uri="{28A0092B-C50C-407E-A947-70E740481C1C}">
                <a14:useLocalDpi xmlns:a14="http://schemas.microsoft.com/office/drawing/2010/main" val="0"/>
              </a:ext>
            </a:extLst>
          </a:blip>
          <a:stretch>
            <a:fillRect/>
          </a:stretch>
        </p:blipFill>
        <p:spPr>
          <a:xfrm>
            <a:off x="3548894" y="3508463"/>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custDataLst>
              <p:tags r:id="rId10"/>
            </p:custDataLst>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custDataLst>
              <p:tags r:id="rId11"/>
            </p:custDataLst>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8" name="Rectangle 117">
            <a:extLst>
              <a:ext uri="{FF2B5EF4-FFF2-40B4-BE49-F238E27FC236}">
                <a16:creationId xmlns:a16="http://schemas.microsoft.com/office/drawing/2014/main" id="{03606830-0145-BF89-5080-5EDD4851A9CA}"/>
              </a:ext>
            </a:extLst>
          </p:cNvPr>
          <p:cNvSpPr/>
          <p:nvPr>
            <p:custDataLst>
              <p:tags r:id="rId12"/>
            </p:custDataLst>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custDataLst>
              <p:tags r:id="rId13"/>
            </p:custDataLst>
          </p:nvPr>
        </p:nvSpPr>
        <p:spPr>
          <a:xfrm>
            <a:off x="6794647" y="230357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 adresse</a:t>
            </a:r>
            <a:endParaRPr lang="fr-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custDataLst>
              <p:tags r:id="rId14"/>
            </p:custDataLst>
          </p:nvPr>
        </p:nvSpPr>
        <p:spPr>
          <a:xfrm>
            <a:off x="6794647" y="2775994"/>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uveau nombre d'étages</a:t>
            </a:r>
          </a:p>
        </p:txBody>
      </p:sp>
      <p:sp>
        <p:nvSpPr>
          <p:cNvPr id="132" name="TextBox 156">
            <a:extLst>
              <a:ext uri="{FF2B5EF4-FFF2-40B4-BE49-F238E27FC236}">
                <a16:creationId xmlns:a16="http://schemas.microsoft.com/office/drawing/2014/main" id="{972E62F7-856E-E74B-98EE-589692A22E88}"/>
              </a:ext>
            </a:extLst>
          </p:cNvPr>
          <p:cNvSpPr txBox="1"/>
          <p:nvPr>
            <p:custDataLst>
              <p:tags r:id="rId15"/>
            </p:custDataLst>
          </p:nvPr>
        </p:nvSpPr>
        <p:spPr>
          <a:xfrm>
            <a:off x="7218671" y="3303058"/>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non attribués</a:t>
            </a:r>
            <a:endParaRPr lang="fr-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custDataLst>
              <p:tags r:id="rId16"/>
            </p:custDataLst>
          </p:nvPr>
        </p:nvSpPr>
        <p:spPr>
          <a:xfrm>
            <a:off x="6794647" y="3279977"/>
            <a:ext cx="4011117" cy="1470089"/>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custDataLst>
              <p:tags r:id="rId17"/>
            </p:custDataLst>
          </p:nvPr>
        </p:nvPicPr>
        <p:blipFill>
          <a:blip r:embed="rId25" cstate="screen">
            <a:extLst>
              <a:ext uri="{28A0092B-C50C-407E-A947-70E740481C1C}">
                <a14:useLocalDpi xmlns:a14="http://schemas.microsoft.com/office/drawing/2010/main" val="0"/>
              </a:ext>
            </a:extLst>
          </a:blip>
          <a:stretch>
            <a:fillRect/>
          </a:stretch>
        </p:blipFill>
        <p:spPr>
          <a:xfrm>
            <a:off x="9440470" y="3602379"/>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custDataLst>
              <p:tags r:id="rId18"/>
            </p:custDataLst>
          </p:nvPr>
        </p:nvPicPr>
        <p:blipFill>
          <a:blip r:embed="rId26" cstate="screen">
            <a:extLst>
              <a:ext uri="{28A0092B-C50C-407E-A947-70E740481C1C}">
                <a14:useLocalDpi xmlns:a14="http://schemas.microsoft.com/office/drawing/2010/main" val="0"/>
              </a:ext>
            </a:extLst>
          </a:blip>
          <a:stretch>
            <a:fillRect/>
          </a:stretch>
        </p:blipFill>
        <p:spPr>
          <a:xfrm>
            <a:off x="7232063" y="3644323"/>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custDataLst>
              <p:tags r:id="rId19"/>
            </p:custDataLst>
          </p:nvPr>
        </p:nvGrpSpPr>
        <p:grpSpPr>
          <a:xfrm>
            <a:off x="8113238" y="3668039"/>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2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custDataLst>
              <p:tags r:id="rId20"/>
            </p:custDataLst>
          </p:nvPr>
        </p:nvSpPr>
        <p:spPr>
          <a:xfrm>
            <a:off x="6794647" y="4860175"/>
            <a:ext cx="4092428" cy="1596500"/>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s stratégies d'utilisation du milieu de travail</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Zones tranquill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Voisinag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Système de réservation</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Rangement personnel</a:t>
            </a:r>
          </a:p>
        </p:txBody>
      </p:sp>
    </p:spTree>
    <p:extLst>
      <p:ext uri="{BB962C8B-B14F-4D97-AF65-F5344CB8AC3E}">
        <p14:creationId xmlns:p14="http://schemas.microsoft.com/office/powerpoint/2010/main" val="581567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custDataLst>
              <p:tags r:id="rId1"/>
            </p:custDataLst>
          </p:nvPr>
        </p:nvSpPr>
        <p:spPr>
          <a:xfrm>
            <a:off x="508760" y="557949"/>
            <a:ext cx="11006344" cy="835027"/>
          </a:xfrm>
        </p:spPr>
        <p:txBody>
          <a:bodyPr/>
          <a:lstStyle/>
          <a:p>
            <a:r>
              <a:rPr lang="fr-CA" dirty="0"/>
              <a:t>Échéancier</a:t>
            </a:r>
          </a:p>
        </p:txBody>
      </p:sp>
      <p:sp>
        <p:nvSpPr>
          <p:cNvPr id="59" name="ZoneTexte 58">
            <a:extLst>
              <a:ext uri="{FF2B5EF4-FFF2-40B4-BE49-F238E27FC236}">
                <a16:creationId xmlns:a16="http://schemas.microsoft.com/office/drawing/2014/main" id="{9EEF3366-3763-B493-96F0-E3984E5F4223}"/>
              </a:ext>
            </a:extLst>
          </p:cNvPr>
          <p:cNvSpPr txBox="1"/>
          <p:nvPr>
            <p:custDataLst>
              <p:tags r:id="rId2"/>
            </p:custDataLst>
          </p:nvPr>
        </p:nvSpPr>
        <p:spPr>
          <a:xfrm>
            <a:off x="273788" y="2690409"/>
            <a:ext cx="2554103" cy="646331"/>
          </a:xfrm>
          <a:prstGeom prst="rect">
            <a:avLst/>
          </a:prstGeom>
          <a:noFill/>
        </p:spPr>
        <p:txBody>
          <a:bodyPr wrap="square" rtlCol="0">
            <a:spAutoFit/>
          </a:bodyPr>
          <a:lstStyle/>
          <a:p>
            <a:r>
              <a:rPr lang="fr-CA" dirty="0"/>
              <a:t>Communications en continu</a:t>
            </a:r>
          </a:p>
        </p:txBody>
      </p:sp>
      <p:sp>
        <p:nvSpPr>
          <p:cNvPr id="47" name="ZoneTexte 46">
            <a:extLst>
              <a:ext uri="{FF2B5EF4-FFF2-40B4-BE49-F238E27FC236}">
                <a16:creationId xmlns:a16="http://schemas.microsoft.com/office/drawing/2014/main" id="{6F061153-9151-0D2F-6C2F-16E75EEC8F0B}"/>
              </a:ext>
            </a:extLst>
          </p:cNvPr>
          <p:cNvSpPr txBox="1"/>
          <p:nvPr>
            <p:custDataLst>
              <p:tags r:id="rId3"/>
            </p:custDataLst>
          </p:nvPr>
        </p:nvSpPr>
        <p:spPr>
          <a:xfrm>
            <a:off x="1512935" y="5455468"/>
            <a:ext cx="1689032" cy="369332"/>
          </a:xfrm>
          <a:prstGeom prst="rect">
            <a:avLst/>
          </a:prstGeom>
          <a:noFill/>
        </p:spPr>
        <p:txBody>
          <a:bodyPr wrap="square" rtlCol="0">
            <a:spAutoFit/>
          </a:bodyPr>
          <a:lstStyle/>
          <a:p>
            <a:r>
              <a:rPr lang="fr-CA" dirty="0"/>
              <a:t>Date ou mois</a:t>
            </a:r>
          </a:p>
        </p:txBody>
      </p:sp>
      <p:sp>
        <p:nvSpPr>
          <p:cNvPr id="48" name="ZoneTexte 47">
            <a:extLst>
              <a:ext uri="{FF2B5EF4-FFF2-40B4-BE49-F238E27FC236}">
                <a16:creationId xmlns:a16="http://schemas.microsoft.com/office/drawing/2014/main" id="{6B16CA0D-CB1F-D6ED-89BE-F6616AE840BF}"/>
              </a:ext>
            </a:extLst>
          </p:cNvPr>
          <p:cNvSpPr txBox="1"/>
          <p:nvPr>
            <p:custDataLst>
              <p:tags r:id="rId4"/>
            </p:custDataLst>
          </p:nvPr>
        </p:nvSpPr>
        <p:spPr>
          <a:xfrm>
            <a:off x="936886" y="5770154"/>
            <a:ext cx="2383520" cy="646331"/>
          </a:xfrm>
          <a:prstGeom prst="rect">
            <a:avLst/>
          </a:prstGeom>
          <a:noFill/>
        </p:spPr>
        <p:txBody>
          <a:bodyPr wrap="square" rtlCol="0">
            <a:spAutoFit/>
          </a:bodyPr>
          <a:lstStyle/>
          <a:p>
            <a:pPr algn="ctr"/>
            <a:r>
              <a:rPr lang="fr-CA" b="1" dirty="0"/>
              <a:t>Assemblée générale du personnel</a:t>
            </a:r>
          </a:p>
        </p:txBody>
      </p:sp>
      <p:sp>
        <p:nvSpPr>
          <p:cNvPr id="51" name="ZoneTexte 50">
            <a:extLst>
              <a:ext uri="{FF2B5EF4-FFF2-40B4-BE49-F238E27FC236}">
                <a16:creationId xmlns:a16="http://schemas.microsoft.com/office/drawing/2014/main" id="{F808FB0B-95FB-588D-74D4-560CE24F641C}"/>
              </a:ext>
            </a:extLst>
          </p:cNvPr>
          <p:cNvSpPr txBox="1"/>
          <p:nvPr>
            <p:custDataLst>
              <p:tags r:id="rId5"/>
            </p:custDataLst>
          </p:nvPr>
        </p:nvSpPr>
        <p:spPr>
          <a:xfrm>
            <a:off x="3317914" y="1303026"/>
            <a:ext cx="1689032" cy="369332"/>
          </a:xfrm>
          <a:prstGeom prst="rect">
            <a:avLst/>
          </a:prstGeom>
          <a:noFill/>
        </p:spPr>
        <p:txBody>
          <a:bodyPr wrap="square" rtlCol="0">
            <a:spAutoFit/>
          </a:bodyPr>
          <a:lstStyle/>
          <a:p>
            <a:r>
              <a:rPr lang="fr-CA" dirty="0"/>
              <a:t>Date ou mois</a:t>
            </a:r>
          </a:p>
        </p:txBody>
      </p:sp>
      <p:sp>
        <p:nvSpPr>
          <p:cNvPr id="52" name="ZoneTexte 51">
            <a:extLst>
              <a:ext uri="{FF2B5EF4-FFF2-40B4-BE49-F238E27FC236}">
                <a16:creationId xmlns:a16="http://schemas.microsoft.com/office/drawing/2014/main" id="{FB1CCAB6-4244-F5C1-D619-C44E7D9FA0E1}"/>
              </a:ext>
            </a:extLst>
          </p:cNvPr>
          <p:cNvSpPr txBox="1"/>
          <p:nvPr>
            <p:custDataLst>
              <p:tags r:id="rId6"/>
            </p:custDataLst>
          </p:nvPr>
        </p:nvSpPr>
        <p:spPr>
          <a:xfrm>
            <a:off x="2608869" y="1603988"/>
            <a:ext cx="2756732" cy="646331"/>
          </a:xfrm>
          <a:prstGeom prst="rect">
            <a:avLst/>
          </a:prstGeom>
          <a:noFill/>
        </p:spPr>
        <p:txBody>
          <a:bodyPr wrap="square" rtlCol="0">
            <a:spAutoFit/>
          </a:bodyPr>
          <a:lstStyle/>
          <a:p>
            <a:pPr algn="ctr"/>
            <a:r>
              <a:rPr lang="fr-CA" b="1" dirty="0"/>
              <a:t>Retrait des biens personnels et organisationnels</a:t>
            </a:r>
          </a:p>
        </p:txBody>
      </p:sp>
      <p:sp>
        <p:nvSpPr>
          <p:cNvPr id="53" name="ZoneTexte 52">
            <a:extLst>
              <a:ext uri="{FF2B5EF4-FFF2-40B4-BE49-F238E27FC236}">
                <a16:creationId xmlns:a16="http://schemas.microsoft.com/office/drawing/2014/main" id="{77D85CA5-B859-31BE-A852-18BCBED95D02}"/>
              </a:ext>
            </a:extLst>
          </p:cNvPr>
          <p:cNvSpPr txBox="1"/>
          <p:nvPr>
            <p:custDataLst>
              <p:tags r:id="rId7"/>
            </p:custDataLst>
          </p:nvPr>
        </p:nvSpPr>
        <p:spPr>
          <a:xfrm>
            <a:off x="5104730" y="5472545"/>
            <a:ext cx="1689032" cy="369332"/>
          </a:xfrm>
          <a:prstGeom prst="rect">
            <a:avLst/>
          </a:prstGeom>
          <a:noFill/>
        </p:spPr>
        <p:txBody>
          <a:bodyPr wrap="square" rtlCol="0">
            <a:spAutoFit/>
          </a:bodyPr>
          <a:lstStyle/>
          <a:p>
            <a:r>
              <a:rPr lang="fr-CA" dirty="0"/>
              <a:t>Date ou mois</a:t>
            </a:r>
          </a:p>
        </p:txBody>
      </p:sp>
      <p:sp>
        <p:nvSpPr>
          <p:cNvPr id="54" name="ZoneTexte 53">
            <a:extLst>
              <a:ext uri="{FF2B5EF4-FFF2-40B4-BE49-F238E27FC236}">
                <a16:creationId xmlns:a16="http://schemas.microsoft.com/office/drawing/2014/main" id="{D1AF6197-0772-06C0-D39E-B685CA3A6EAD}"/>
              </a:ext>
            </a:extLst>
          </p:cNvPr>
          <p:cNvSpPr txBox="1"/>
          <p:nvPr>
            <p:custDataLst>
              <p:tags r:id="rId8"/>
            </p:custDataLst>
          </p:nvPr>
        </p:nvSpPr>
        <p:spPr>
          <a:xfrm>
            <a:off x="4400839" y="5734911"/>
            <a:ext cx="2756732" cy="646331"/>
          </a:xfrm>
          <a:prstGeom prst="rect">
            <a:avLst/>
          </a:prstGeom>
          <a:noFill/>
        </p:spPr>
        <p:txBody>
          <a:bodyPr wrap="square" rtlCol="0">
            <a:spAutoFit/>
          </a:bodyPr>
          <a:lstStyle/>
          <a:p>
            <a:pPr algn="ctr"/>
            <a:r>
              <a:rPr lang="fr-CA" b="1" dirty="0"/>
              <a:t>Activités d'orientation et de familiarisation</a:t>
            </a:r>
          </a:p>
        </p:txBody>
      </p:sp>
      <p:sp>
        <p:nvSpPr>
          <p:cNvPr id="56" name="ZoneTexte 55">
            <a:extLst>
              <a:ext uri="{FF2B5EF4-FFF2-40B4-BE49-F238E27FC236}">
                <a16:creationId xmlns:a16="http://schemas.microsoft.com/office/drawing/2014/main" id="{ACA4AAD1-FCBE-4C24-0B3D-DE15D577F00F}"/>
              </a:ext>
            </a:extLst>
          </p:cNvPr>
          <p:cNvSpPr txBox="1"/>
          <p:nvPr>
            <p:custDataLst>
              <p:tags r:id="rId9"/>
            </p:custDataLst>
          </p:nvPr>
        </p:nvSpPr>
        <p:spPr>
          <a:xfrm>
            <a:off x="6784018" y="1309675"/>
            <a:ext cx="1689032" cy="369332"/>
          </a:xfrm>
          <a:prstGeom prst="rect">
            <a:avLst/>
          </a:prstGeom>
          <a:noFill/>
        </p:spPr>
        <p:txBody>
          <a:bodyPr wrap="square" rtlCol="0">
            <a:spAutoFit/>
          </a:bodyPr>
          <a:lstStyle/>
          <a:p>
            <a:r>
              <a:rPr lang="fr-CA" dirty="0"/>
              <a:t>Date ou mois</a:t>
            </a:r>
          </a:p>
        </p:txBody>
      </p:sp>
      <p:sp>
        <p:nvSpPr>
          <p:cNvPr id="55" name="ZoneTexte 54">
            <a:extLst>
              <a:ext uri="{FF2B5EF4-FFF2-40B4-BE49-F238E27FC236}">
                <a16:creationId xmlns:a16="http://schemas.microsoft.com/office/drawing/2014/main" id="{7A1A59FF-8821-4234-BA1F-86BE5197E628}"/>
              </a:ext>
            </a:extLst>
          </p:cNvPr>
          <p:cNvSpPr txBox="1"/>
          <p:nvPr>
            <p:custDataLst>
              <p:tags r:id="rId10"/>
            </p:custDataLst>
          </p:nvPr>
        </p:nvSpPr>
        <p:spPr>
          <a:xfrm>
            <a:off x="5670790" y="1585937"/>
            <a:ext cx="4030720" cy="923330"/>
          </a:xfrm>
          <a:prstGeom prst="rect">
            <a:avLst/>
          </a:prstGeom>
          <a:noFill/>
        </p:spPr>
        <p:txBody>
          <a:bodyPr wrap="square" rtlCol="0">
            <a:spAutoFit/>
          </a:bodyPr>
          <a:lstStyle/>
          <a:p>
            <a:pPr algn="ctr"/>
            <a:r>
              <a:rPr lang="fr-CA" b="1" dirty="0">
                <a:highlight>
                  <a:srgbClr val="FFFF00"/>
                </a:highlight>
              </a:rPr>
              <a:t>Déménagement </a:t>
            </a:r>
            <a:r>
              <a:rPr lang="fr-CA" b="1" i="1" dirty="0">
                <a:highlight>
                  <a:srgbClr val="FFFF00"/>
                </a:highlight>
              </a:rPr>
              <a:t>ou </a:t>
            </a:r>
            <a:r>
              <a:rPr lang="fr-CA" b="1" dirty="0">
                <a:highlight>
                  <a:srgbClr val="FFFF00"/>
                </a:highlight>
              </a:rPr>
              <a:t>mise en œuvre d’un milieu de travail optimisé </a:t>
            </a:r>
            <a:r>
              <a:rPr lang="fr-CA" b="1" dirty="0"/>
              <a:t>et de nouvelles stratégies d'utilisation</a:t>
            </a:r>
          </a:p>
        </p:txBody>
      </p:sp>
      <p:sp>
        <p:nvSpPr>
          <p:cNvPr id="58" name="ZoneTexte 57">
            <a:extLst>
              <a:ext uri="{FF2B5EF4-FFF2-40B4-BE49-F238E27FC236}">
                <a16:creationId xmlns:a16="http://schemas.microsoft.com/office/drawing/2014/main" id="{62D48345-9A67-33B9-271D-D2722B58526B}"/>
              </a:ext>
            </a:extLst>
          </p:cNvPr>
          <p:cNvSpPr txBox="1"/>
          <p:nvPr>
            <p:custDataLst>
              <p:tags r:id="rId11"/>
            </p:custDataLst>
          </p:nvPr>
        </p:nvSpPr>
        <p:spPr>
          <a:xfrm>
            <a:off x="8714243" y="5410907"/>
            <a:ext cx="1689032" cy="369332"/>
          </a:xfrm>
          <a:prstGeom prst="rect">
            <a:avLst/>
          </a:prstGeom>
          <a:noFill/>
        </p:spPr>
        <p:txBody>
          <a:bodyPr wrap="square" rtlCol="0">
            <a:spAutoFit/>
          </a:bodyPr>
          <a:lstStyle/>
          <a:p>
            <a:r>
              <a:rPr lang="fr-CA" dirty="0"/>
              <a:t>Date ou mois</a:t>
            </a:r>
          </a:p>
        </p:txBody>
      </p:sp>
      <p:sp>
        <p:nvSpPr>
          <p:cNvPr id="57" name="ZoneTexte 56">
            <a:extLst>
              <a:ext uri="{FF2B5EF4-FFF2-40B4-BE49-F238E27FC236}">
                <a16:creationId xmlns:a16="http://schemas.microsoft.com/office/drawing/2014/main" id="{80C64189-743E-1D6F-BC38-898A98A32465}"/>
              </a:ext>
            </a:extLst>
          </p:cNvPr>
          <p:cNvSpPr txBox="1"/>
          <p:nvPr>
            <p:custDataLst>
              <p:tags r:id="rId12"/>
            </p:custDataLst>
          </p:nvPr>
        </p:nvSpPr>
        <p:spPr>
          <a:xfrm>
            <a:off x="7877094" y="5640134"/>
            <a:ext cx="3378020" cy="646331"/>
          </a:xfrm>
          <a:prstGeom prst="rect">
            <a:avLst/>
          </a:prstGeom>
          <a:noFill/>
        </p:spPr>
        <p:txBody>
          <a:bodyPr wrap="square" rtlCol="0">
            <a:spAutoFit/>
          </a:bodyPr>
          <a:lstStyle/>
          <a:p>
            <a:pPr algn="ctr"/>
            <a:r>
              <a:rPr lang="fr-CA" b="1" dirty="0"/>
              <a:t>Sondage, ajustements et renforcement</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custDataLst>
              <p:tags r:id="rId13"/>
            </p:custDataLst>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custDataLst>
              <p:tags r:id="rId14"/>
            </p:custDataLst>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custDataLst>
              <p:tags r:id="rId15"/>
            </p:custDataLst>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custDataLst>
              <p:tags r:id="rId16"/>
            </p:custDataLst>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custDataLst>
              <p:tags r:id="rId17"/>
            </p:custDataLst>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custDataLst>
              <p:tags r:id="rId18"/>
            </p:custDataLst>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custDataLst>
              <p:tags r:id="rId19"/>
            </p:custDataLst>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custDataLst>
              <p:tags r:id="rId20"/>
            </p:custDataLst>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custDataLst>
              <p:tags r:id="rId21"/>
            </p:custDataLst>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custDataLst>
              <p:tags r:id="rId22"/>
            </p:custDataLst>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custDataLst>
              <p:tags r:id="rId23"/>
            </p:custDataLst>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custDataLst>
              <p:tags r:id="rId24"/>
            </p:custDataLst>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custDataLst>
              <p:tags r:id="rId25"/>
            </p:custDataLst>
          </p:nvPr>
        </p:nvCxnSpPr>
        <p:spPr>
          <a:xfrm>
            <a:off x="4022103" y="2601480"/>
            <a:ext cx="4255" cy="752421"/>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custDataLst>
              <p:tags r:id="rId26"/>
            </p:custDataLst>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custDataLst>
              <p:tags r:id="rId27"/>
            </p:custDataLst>
          </p:nvPr>
        </p:nvSpPr>
        <p:spPr>
          <a:xfrm>
            <a:off x="3948327" y="2449933"/>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custDataLst>
              <p:tags r:id="rId28"/>
            </p:custDataLst>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custDataLst>
              <p:tags r:id="rId29"/>
            </p:custDataLst>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custDataLst>
              <p:tags r:id="rId30"/>
            </p:custDataLst>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custDataLst>
              <p:tags r:id="rId31"/>
            </p:custDataLst>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custDataLst>
              <p:tags r:id="rId32"/>
            </p:custDataLst>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custDataLst>
              <p:tags r:id="rId33"/>
            </p:custDataLst>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custDataLst>
              <p:tags r:id="rId34"/>
            </p:custDataLst>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custDataLst>
              <p:tags r:id="rId35"/>
            </p:custDataLst>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custDataLst>
              <p:tags r:id="rId36"/>
            </p:custDataLst>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custDataLst>
              <p:tags r:id="rId37"/>
            </p:custDataLst>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custDataLst>
              <p:tags r:id="rId38"/>
            </p:custDataLst>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custDataLst>
              <p:tags r:id="rId39"/>
            </p:custDataLst>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custDataLst>
              <p:tags r:id="rId40"/>
            </p:custDataLst>
          </p:nvPr>
        </p:nvCxnSpPr>
        <p:spPr>
          <a:xfrm flipH="1">
            <a:off x="7597363" y="2601480"/>
            <a:ext cx="4685" cy="759347"/>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custDataLst>
              <p:tags r:id="rId41"/>
            </p:custDataLst>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custDataLst>
              <p:tags r:id="rId42"/>
            </p:custDataLst>
          </p:nvPr>
        </p:nvSpPr>
        <p:spPr>
          <a:xfrm>
            <a:off x="7516989" y="2443694"/>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custDataLst>
              <p:tags r:id="rId43"/>
            </p:custDataLst>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custDataLst>
              <p:tags r:id="rId44"/>
            </p:custDataLst>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custDataLst>
              <p:tags r:id="rId45"/>
            </p:custDataLst>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custDataLst>
              <p:tags r:id="rId46"/>
            </p:custDataLst>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custDataLst>
              <p:tags r:id="rId47"/>
            </p:custDataLst>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custDataLst>
              <p:tags r:id="rId48"/>
            </p:custDataLst>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custDataLst>
              <p:tags r:id="rId49"/>
            </p:custDataLst>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custDataLst>
              <p:tags r:id="rId50"/>
            </p:custDataLst>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custDataLst>
              <p:tags r:id="rId51"/>
            </p:custDataLst>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custDataLst>
              <p:tags r:id="rId52"/>
            </p:custDataLst>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custDataLst>
              <p:tags r:id="rId53"/>
            </p:custDataLst>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custDataLst>
              <p:tags r:id="rId54"/>
            </p:custDataLst>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2404050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custDataLst>
              <p:tags r:id="rId1"/>
            </p:custDataLst>
          </p:nvPr>
        </p:nvSpPr>
        <p:spPr/>
        <p:txBody>
          <a:bodyPr>
            <a:normAutofit/>
          </a:bodyPr>
          <a:lstStyle/>
          <a:p>
            <a:r>
              <a:rPr lang="fr-CA" dirty="0"/>
              <a:t>Mon rôle en tant que parrain du projet d'optimisation</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custDataLst>
              <p:tags r:id="rId2"/>
            </p:custDataLst>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Établir la gouvernance encadrant le projet et superviser l'équipe d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Superviser la stratégie de gestion du changemen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Montrer mon engagement dans ce projet et montrer l'exemple - Je libère le bureau qui m'a été attribué. </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Communiquer la vision, informer et fournir des mises à jour sur l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M’assurer que vous êtes bien outillés pour soutenir vos équipes.</a:t>
            </a:r>
          </a:p>
          <a:p>
            <a:endParaRPr lang="fr-CA" dirty="0">
              <a:latin typeface="Calibri"/>
              <a:cs typeface="Calibri"/>
            </a:endParaRPr>
          </a:p>
        </p:txBody>
      </p:sp>
      <p:grpSp>
        <p:nvGrpSpPr>
          <p:cNvPr id="2" name="Group 1">
            <a:extLst>
              <a:ext uri="{FF2B5EF4-FFF2-40B4-BE49-F238E27FC236}">
                <a16:creationId xmlns:a16="http://schemas.microsoft.com/office/drawing/2014/main" id="{661B2616-8850-EF91-157D-D23F4AB9BD14}"/>
              </a:ext>
              <a:ext uri="{C183D7F6-B498-43B3-948B-1728B52AA6E4}">
                <adec:decorative xmlns:adec="http://schemas.microsoft.com/office/drawing/2017/decorative" val="1"/>
              </a:ext>
            </a:extLst>
          </p:cNvPr>
          <p:cNvGrpSpPr/>
          <p:nvPr>
            <p:custDataLst>
              <p:tags r:id="rId3"/>
            </p:custDataLst>
          </p:nvPr>
        </p:nvGrpSpPr>
        <p:grpSpPr>
          <a:xfrm>
            <a:off x="6676462" y="1470032"/>
            <a:ext cx="3843977" cy="4837107"/>
            <a:chOff x="6676462" y="1470032"/>
            <a:chExt cx="3843977" cy="4837107"/>
          </a:xfrm>
        </p:grpSpPr>
        <p:sp>
          <p:nvSpPr>
            <p:cNvPr id="33" name="Oval 32">
              <a:extLst>
                <a:ext uri="{FF2B5EF4-FFF2-40B4-BE49-F238E27FC236}">
                  <a16:creationId xmlns:a16="http://schemas.microsoft.com/office/drawing/2014/main" id="{D65CC404-CAC3-6E60-A318-20FF342575B0}"/>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1" name="Ellipse 5">
              <a:extLst>
                <a:ext uri="{FF2B5EF4-FFF2-40B4-BE49-F238E27FC236}">
                  <a16:creationId xmlns:a16="http://schemas.microsoft.com/office/drawing/2014/main" id="{6ACEFB4F-F092-80B3-5010-EF9617D5330E}"/>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2" name="Ellipse 21">
              <a:extLst>
                <a:ext uri="{FF2B5EF4-FFF2-40B4-BE49-F238E27FC236}">
                  <a16:creationId xmlns:a16="http://schemas.microsoft.com/office/drawing/2014/main" id="{A2BDCF0E-ABB4-1B44-1450-FCFBFF1F5003}"/>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nvGrpSpPr>
            <p:cNvPr id="27" name="Group 26">
              <a:extLst>
                <a:ext uri="{FF2B5EF4-FFF2-40B4-BE49-F238E27FC236}">
                  <a16:creationId xmlns:a16="http://schemas.microsoft.com/office/drawing/2014/main" id="{A4FA5544-0B54-A81C-92CD-D2CF76EEB919}"/>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22" name="Straight Connector 21">
                <a:extLst>
                  <a:ext uri="{FF2B5EF4-FFF2-40B4-BE49-F238E27FC236}">
                    <a16:creationId xmlns:a16="http://schemas.microsoft.com/office/drawing/2014/main" id="{28CE36A2-B53A-CD4C-7986-31F3E2BCAC62}"/>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9462034-E1B6-6A87-6CFE-0E7EBAB30521}"/>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54D3AA0-EA97-92CE-B679-7FCC941FA581}"/>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1" name="Graphic 10" descr="Continuous Improvement outline">
              <a:extLst>
                <a:ext uri="{FF2B5EF4-FFF2-40B4-BE49-F238E27FC236}">
                  <a16:creationId xmlns:a16="http://schemas.microsoft.com/office/drawing/2014/main" id="{C753CFF1-02FD-BF89-6B3B-119A798B7D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7956" y="1470032"/>
              <a:ext cx="1636758" cy="1636758"/>
            </a:xfrm>
            <a:prstGeom prst="rect">
              <a:avLst/>
            </a:prstGeom>
          </p:spPr>
        </p:pic>
        <p:pic>
          <p:nvPicPr>
            <p:cNvPr id="13" name="Graphic 12" descr="Chat outline">
              <a:extLst>
                <a:ext uri="{FF2B5EF4-FFF2-40B4-BE49-F238E27FC236}">
                  <a16:creationId xmlns:a16="http://schemas.microsoft.com/office/drawing/2014/main" id="{D330C3AE-3499-2DA0-C667-8E35256CBD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12519" y="4838241"/>
              <a:ext cx="1468898" cy="1468898"/>
            </a:xfrm>
            <a:prstGeom prst="rect">
              <a:avLst/>
            </a:prstGeom>
          </p:spPr>
        </p:pic>
        <p:pic>
          <p:nvPicPr>
            <p:cNvPr id="15" name="Graphic 14" descr="Clipboard Partially Checked outline">
              <a:extLst>
                <a:ext uri="{FF2B5EF4-FFF2-40B4-BE49-F238E27FC236}">
                  <a16:creationId xmlns:a16="http://schemas.microsoft.com/office/drawing/2014/main" id="{E6E27A8F-134D-2C11-659C-0EF96F386A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48990" y="3229398"/>
              <a:ext cx="1171449" cy="1171449"/>
            </a:xfrm>
            <a:prstGeom prst="rect">
              <a:avLst/>
            </a:prstGeom>
          </p:spPr>
        </p:pic>
        <p:sp>
          <p:nvSpPr>
            <p:cNvPr id="28" name="Oval 27">
              <a:extLst>
                <a:ext uri="{FF2B5EF4-FFF2-40B4-BE49-F238E27FC236}">
                  <a16:creationId xmlns:a16="http://schemas.microsoft.com/office/drawing/2014/main" id="{05B7BA9A-A431-40EF-F3A2-3B3C7851D45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30" name="Graphic 29" descr="User with solid fill">
              <a:extLst>
                <a:ext uri="{FF2B5EF4-FFF2-40B4-BE49-F238E27FC236}">
                  <a16:creationId xmlns:a16="http://schemas.microsoft.com/office/drawing/2014/main" id="{DACBDE29-0C8E-38AB-01BA-BB4457F3FE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48"/>
</p:tagLst>
</file>

<file path=ppt/tags/tag101.xml><?xml version="1.0" encoding="utf-8"?>
<p:tagLst xmlns:a="http://schemas.openxmlformats.org/drawingml/2006/main" xmlns:r="http://schemas.openxmlformats.org/officeDocument/2006/relationships" xmlns:p="http://schemas.openxmlformats.org/presentationml/2006/main">
  <p:tag name="NUM" val="49"/>
</p:tagLst>
</file>

<file path=ppt/tags/tag102.xml><?xml version="1.0" encoding="utf-8"?>
<p:tagLst xmlns:a="http://schemas.openxmlformats.org/drawingml/2006/main" xmlns:r="http://schemas.openxmlformats.org/officeDocument/2006/relationships" xmlns:p="http://schemas.openxmlformats.org/presentationml/2006/main">
  <p:tag name="NUM" val="50"/>
</p:tagLst>
</file>

<file path=ppt/tags/tag103.xml><?xml version="1.0" encoding="utf-8"?>
<p:tagLst xmlns:a="http://schemas.openxmlformats.org/drawingml/2006/main" xmlns:r="http://schemas.openxmlformats.org/officeDocument/2006/relationships" xmlns:p="http://schemas.openxmlformats.org/presentationml/2006/main">
  <p:tag name="NUM" val="51"/>
</p:tagLst>
</file>

<file path=ppt/tags/tag104.xml><?xml version="1.0" encoding="utf-8"?>
<p:tagLst xmlns:a="http://schemas.openxmlformats.org/drawingml/2006/main" xmlns:r="http://schemas.openxmlformats.org/officeDocument/2006/relationships" xmlns:p="http://schemas.openxmlformats.org/presentationml/2006/main">
  <p:tag name="NUM" val="52"/>
</p:tagLst>
</file>

<file path=ppt/tags/tag105.xml><?xml version="1.0" encoding="utf-8"?>
<p:tagLst xmlns:a="http://schemas.openxmlformats.org/drawingml/2006/main" xmlns:r="http://schemas.openxmlformats.org/officeDocument/2006/relationships" xmlns:p="http://schemas.openxmlformats.org/presentationml/2006/main">
  <p:tag name="NUM" val="53"/>
</p:tagLst>
</file>

<file path=ppt/tags/tag106.xml><?xml version="1.0" encoding="utf-8"?>
<p:tagLst xmlns:a="http://schemas.openxmlformats.org/drawingml/2006/main" xmlns:r="http://schemas.openxmlformats.org/officeDocument/2006/relationships" xmlns:p="http://schemas.openxmlformats.org/presentationml/2006/main">
  <p:tag name="NUM" val="54"/>
</p:tagLst>
</file>

<file path=ppt/tags/tag107.xml><?xml version="1.0" encoding="utf-8"?>
<p:tagLst xmlns:a="http://schemas.openxmlformats.org/drawingml/2006/main" xmlns:r="http://schemas.openxmlformats.org/officeDocument/2006/relationships" xmlns:p="http://schemas.openxmlformats.org/presentationml/2006/main">
  <p:tag name="NUM" val="1"/>
</p:tagLst>
</file>

<file path=ppt/tags/tag108.xml><?xml version="1.0" encoding="utf-8"?>
<p:tagLst xmlns:a="http://schemas.openxmlformats.org/drawingml/2006/main" xmlns:r="http://schemas.openxmlformats.org/officeDocument/2006/relationships" xmlns:p="http://schemas.openxmlformats.org/presentationml/2006/main">
  <p:tag name="NUM" val="2"/>
</p:tagLst>
</file>

<file path=ppt/tags/tag109.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1"/>
</p:tagLst>
</file>

<file path=ppt/tags/tag111.xml><?xml version="1.0" encoding="utf-8"?>
<p:tagLst xmlns:a="http://schemas.openxmlformats.org/drawingml/2006/main" xmlns:r="http://schemas.openxmlformats.org/officeDocument/2006/relationships" xmlns:p="http://schemas.openxmlformats.org/presentationml/2006/main">
  <p:tag name="NUM" val="2"/>
</p:tagLst>
</file>

<file path=ppt/tags/tag112.xml><?xml version="1.0" encoding="utf-8"?>
<p:tagLst xmlns:a="http://schemas.openxmlformats.org/drawingml/2006/main" xmlns:r="http://schemas.openxmlformats.org/officeDocument/2006/relationships" xmlns:p="http://schemas.openxmlformats.org/presentationml/2006/main">
  <p:tag name="NUM" val="1"/>
</p:tagLst>
</file>

<file path=ppt/tags/tag113.xml><?xml version="1.0" encoding="utf-8"?>
<p:tagLst xmlns:a="http://schemas.openxmlformats.org/drawingml/2006/main" xmlns:r="http://schemas.openxmlformats.org/officeDocument/2006/relationships" xmlns:p="http://schemas.openxmlformats.org/presentationml/2006/main">
  <p:tag name="NUM" val="1"/>
</p:tagLst>
</file>

<file path=ppt/tags/tag114.xml><?xml version="1.0" encoding="utf-8"?>
<p:tagLst xmlns:a="http://schemas.openxmlformats.org/drawingml/2006/main" xmlns:r="http://schemas.openxmlformats.org/officeDocument/2006/relationships" xmlns:p="http://schemas.openxmlformats.org/presentationml/2006/main">
  <p:tag name="NUM" val="2"/>
</p:tagLst>
</file>

<file path=ppt/tags/tag115.xml><?xml version="1.0" encoding="utf-8"?>
<p:tagLst xmlns:a="http://schemas.openxmlformats.org/drawingml/2006/main" xmlns:r="http://schemas.openxmlformats.org/officeDocument/2006/relationships" xmlns:p="http://schemas.openxmlformats.org/presentationml/2006/main">
  <p:tag name="NUM" val="3"/>
</p:tagLst>
</file>

<file path=ppt/tags/tag116.xml><?xml version="1.0" encoding="utf-8"?>
<p:tagLst xmlns:a="http://schemas.openxmlformats.org/drawingml/2006/main" xmlns:r="http://schemas.openxmlformats.org/officeDocument/2006/relationships" xmlns:p="http://schemas.openxmlformats.org/presentationml/2006/main">
  <p:tag name="NUM" val="4"/>
</p:tagLst>
</file>

<file path=ppt/tags/tag117.xml><?xml version="1.0" encoding="utf-8"?>
<p:tagLst xmlns:a="http://schemas.openxmlformats.org/drawingml/2006/main" xmlns:r="http://schemas.openxmlformats.org/officeDocument/2006/relationships" xmlns:p="http://schemas.openxmlformats.org/presentationml/2006/main">
  <p:tag name="NUM" val="5"/>
</p:tagLst>
</file>

<file path=ppt/tags/tag118.xml><?xml version="1.0" encoding="utf-8"?>
<p:tagLst xmlns:a="http://schemas.openxmlformats.org/drawingml/2006/main" xmlns:r="http://schemas.openxmlformats.org/officeDocument/2006/relationships" xmlns:p="http://schemas.openxmlformats.org/presentationml/2006/main">
  <p:tag name="NUM" val="6"/>
</p:tagLst>
</file>

<file path=ppt/tags/tag119.xml><?xml version="1.0" encoding="utf-8"?>
<p:tagLst xmlns:a="http://schemas.openxmlformats.org/drawingml/2006/main" xmlns:r="http://schemas.openxmlformats.org/officeDocument/2006/relationships" xmlns:p="http://schemas.openxmlformats.org/presentationml/2006/main">
  <p:tag name="NUM" val="7"/>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1"/>
</p:tagLst>
</file>

<file path=ppt/tags/tag121.xml><?xml version="1.0" encoding="utf-8"?>
<p:tagLst xmlns:a="http://schemas.openxmlformats.org/drawingml/2006/main" xmlns:r="http://schemas.openxmlformats.org/officeDocument/2006/relationships" xmlns:p="http://schemas.openxmlformats.org/presentationml/2006/main">
  <p:tag name="NUM" val="2"/>
</p:tagLst>
</file>

<file path=ppt/tags/tag122.xml><?xml version="1.0" encoding="utf-8"?>
<p:tagLst xmlns:a="http://schemas.openxmlformats.org/drawingml/2006/main" xmlns:r="http://schemas.openxmlformats.org/officeDocument/2006/relationships" xmlns:p="http://schemas.openxmlformats.org/presentationml/2006/main">
  <p:tag name="NUM" val="3"/>
</p:tagLst>
</file>

<file path=ppt/tags/tag123.xml><?xml version="1.0" encoding="utf-8"?>
<p:tagLst xmlns:a="http://schemas.openxmlformats.org/drawingml/2006/main" xmlns:r="http://schemas.openxmlformats.org/officeDocument/2006/relationships" xmlns:p="http://schemas.openxmlformats.org/presentationml/2006/main">
  <p:tag name="NUM" val="4"/>
</p:tagLst>
</file>

<file path=ppt/tags/tag124.xml><?xml version="1.0" encoding="utf-8"?>
<p:tagLst xmlns:a="http://schemas.openxmlformats.org/drawingml/2006/main" xmlns:r="http://schemas.openxmlformats.org/officeDocument/2006/relationships" xmlns:p="http://schemas.openxmlformats.org/presentationml/2006/main">
  <p:tag name="NUM" val="5"/>
</p:tagLst>
</file>

<file path=ppt/tags/tag125.xml><?xml version="1.0" encoding="utf-8"?>
<p:tagLst xmlns:a="http://schemas.openxmlformats.org/drawingml/2006/main" xmlns:r="http://schemas.openxmlformats.org/officeDocument/2006/relationships" xmlns:p="http://schemas.openxmlformats.org/presentationml/2006/main">
  <p:tag name="NUM" val="6"/>
</p:tagLst>
</file>

<file path=ppt/tags/tag126.xml><?xml version="1.0" encoding="utf-8"?>
<p:tagLst xmlns:a="http://schemas.openxmlformats.org/drawingml/2006/main" xmlns:r="http://schemas.openxmlformats.org/officeDocument/2006/relationships" xmlns:p="http://schemas.openxmlformats.org/presentationml/2006/main">
  <p:tag name="NUM" val="7"/>
</p:tagLst>
</file>

<file path=ppt/tags/tag127.xml><?xml version="1.0" encoding="utf-8"?>
<p:tagLst xmlns:a="http://schemas.openxmlformats.org/drawingml/2006/main" xmlns:r="http://schemas.openxmlformats.org/officeDocument/2006/relationships" xmlns:p="http://schemas.openxmlformats.org/presentationml/2006/main">
  <p:tag name="NUM" val="8"/>
</p:tagLst>
</file>

<file path=ppt/tags/tag128.xml><?xml version="1.0" encoding="utf-8"?>
<p:tagLst xmlns:a="http://schemas.openxmlformats.org/drawingml/2006/main" xmlns:r="http://schemas.openxmlformats.org/officeDocument/2006/relationships" xmlns:p="http://schemas.openxmlformats.org/presentationml/2006/main">
  <p:tag name="NUM" val="9"/>
</p:tagLst>
</file>

<file path=ppt/tags/tag129.xml><?xml version="1.0" encoding="utf-8"?>
<p:tagLst xmlns:a="http://schemas.openxmlformats.org/drawingml/2006/main" xmlns:r="http://schemas.openxmlformats.org/officeDocument/2006/relationships" xmlns:p="http://schemas.openxmlformats.org/presentationml/2006/main">
  <p:tag name="NUM" val="10"/>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11"/>
</p:tagLst>
</file>

<file path=ppt/tags/tag131.xml><?xml version="1.0" encoding="utf-8"?>
<p:tagLst xmlns:a="http://schemas.openxmlformats.org/drawingml/2006/main" xmlns:r="http://schemas.openxmlformats.org/officeDocument/2006/relationships" xmlns:p="http://schemas.openxmlformats.org/presentationml/2006/main">
  <p:tag name="NUM" val="12"/>
</p:tagLst>
</file>

<file path=ppt/tags/tag132.xml><?xml version="1.0" encoding="utf-8"?>
<p:tagLst xmlns:a="http://schemas.openxmlformats.org/drawingml/2006/main" xmlns:r="http://schemas.openxmlformats.org/officeDocument/2006/relationships" xmlns:p="http://schemas.openxmlformats.org/presentationml/2006/main">
  <p:tag name="NUM" val="13"/>
</p:tagLst>
</file>

<file path=ppt/tags/tag133.xml><?xml version="1.0" encoding="utf-8"?>
<p:tagLst xmlns:a="http://schemas.openxmlformats.org/drawingml/2006/main" xmlns:r="http://schemas.openxmlformats.org/officeDocument/2006/relationships" xmlns:p="http://schemas.openxmlformats.org/presentationml/2006/main">
  <p:tag name="NUM" val="14"/>
</p:tagLst>
</file>

<file path=ppt/tags/tag134.xml><?xml version="1.0" encoding="utf-8"?>
<p:tagLst xmlns:a="http://schemas.openxmlformats.org/drawingml/2006/main" xmlns:r="http://schemas.openxmlformats.org/officeDocument/2006/relationships" xmlns:p="http://schemas.openxmlformats.org/presentationml/2006/main">
  <p:tag name="NUM" val="1"/>
</p:tagLst>
</file>

<file path=ppt/tags/tag135.xml><?xml version="1.0" encoding="utf-8"?>
<p:tagLst xmlns:a="http://schemas.openxmlformats.org/drawingml/2006/main" xmlns:r="http://schemas.openxmlformats.org/officeDocument/2006/relationships" xmlns:p="http://schemas.openxmlformats.org/presentationml/2006/main">
  <p:tag name="NUM" val="2"/>
</p:tagLst>
</file>

<file path=ppt/tags/tag136.xml><?xml version="1.0" encoding="utf-8"?>
<p:tagLst xmlns:a="http://schemas.openxmlformats.org/drawingml/2006/main" xmlns:r="http://schemas.openxmlformats.org/officeDocument/2006/relationships" xmlns:p="http://schemas.openxmlformats.org/presentationml/2006/main">
  <p:tag name="NUM" val="3"/>
</p:tagLst>
</file>

<file path=ppt/tags/tag137.xml><?xml version="1.0" encoding="utf-8"?>
<p:tagLst xmlns:a="http://schemas.openxmlformats.org/drawingml/2006/main" xmlns:r="http://schemas.openxmlformats.org/officeDocument/2006/relationships" xmlns:p="http://schemas.openxmlformats.org/presentationml/2006/main">
  <p:tag name="NUM" val="4"/>
</p:tagLst>
</file>

<file path=ppt/tags/tag138.xml><?xml version="1.0" encoding="utf-8"?>
<p:tagLst xmlns:a="http://schemas.openxmlformats.org/drawingml/2006/main" xmlns:r="http://schemas.openxmlformats.org/officeDocument/2006/relationships" xmlns:p="http://schemas.openxmlformats.org/presentationml/2006/main">
  <p:tag name="NUM" val="5"/>
</p:tagLst>
</file>

<file path=ppt/tags/tag139.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40.xml><?xml version="1.0" encoding="utf-8"?>
<p:tagLst xmlns:a="http://schemas.openxmlformats.org/drawingml/2006/main" xmlns:r="http://schemas.openxmlformats.org/officeDocument/2006/relationships" xmlns:p="http://schemas.openxmlformats.org/presentationml/2006/main">
  <p:tag name="NUM" val="7"/>
</p:tagLst>
</file>

<file path=ppt/tags/tag141.xml><?xml version="1.0" encoding="utf-8"?>
<p:tagLst xmlns:a="http://schemas.openxmlformats.org/drawingml/2006/main" xmlns:r="http://schemas.openxmlformats.org/officeDocument/2006/relationships" xmlns:p="http://schemas.openxmlformats.org/presentationml/2006/main">
  <p:tag name="NUM" val="1"/>
</p:tagLst>
</file>

<file path=ppt/tags/tag142.xml><?xml version="1.0" encoding="utf-8"?>
<p:tagLst xmlns:a="http://schemas.openxmlformats.org/drawingml/2006/main" xmlns:r="http://schemas.openxmlformats.org/officeDocument/2006/relationships" xmlns:p="http://schemas.openxmlformats.org/presentationml/2006/main">
  <p:tag name="NUM" val="1"/>
</p:tagLst>
</file>

<file path=ppt/tags/tag143.xml><?xml version="1.0" encoding="utf-8"?>
<p:tagLst xmlns:a="http://schemas.openxmlformats.org/drawingml/2006/main" xmlns:r="http://schemas.openxmlformats.org/officeDocument/2006/relationships" xmlns:p="http://schemas.openxmlformats.org/presentationml/2006/main">
  <p:tag name="NUM" val="2"/>
</p:tagLst>
</file>

<file path=ppt/tags/tag144.xml><?xml version="1.0" encoding="utf-8"?>
<p:tagLst xmlns:a="http://schemas.openxmlformats.org/drawingml/2006/main" xmlns:r="http://schemas.openxmlformats.org/officeDocument/2006/relationships" xmlns:p="http://schemas.openxmlformats.org/presentationml/2006/main">
  <p:tag name="NUM" val="3"/>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2"/>
</p:tagLst>
</file>

<file path=ppt/tags/tag147.xml><?xml version="1.0" encoding="utf-8"?>
<p:tagLst xmlns:a="http://schemas.openxmlformats.org/drawingml/2006/main" xmlns:r="http://schemas.openxmlformats.org/officeDocument/2006/relationships" xmlns:p="http://schemas.openxmlformats.org/presentationml/2006/main">
  <p:tag name="NUM" val="3"/>
</p:tagLst>
</file>

<file path=ppt/tags/tag148.xml><?xml version="1.0" encoding="utf-8"?>
<p:tagLst xmlns:a="http://schemas.openxmlformats.org/drawingml/2006/main" xmlns:r="http://schemas.openxmlformats.org/officeDocument/2006/relationships" xmlns:p="http://schemas.openxmlformats.org/presentationml/2006/main">
  <p:tag name="NUM" val="1"/>
</p:tagLst>
</file>

<file path=ppt/tags/tag149.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50.xml><?xml version="1.0" encoding="utf-8"?>
<p:tagLst xmlns:a="http://schemas.openxmlformats.org/drawingml/2006/main" xmlns:r="http://schemas.openxmlformats.org/officeDocument/2006/relationships" xmlns:p="http://schemas.openxmlformats.org/presentationml/2006/main">
  <p:tag name="NUM" val="1"/>
</p:tagLst>
</file>

<file path=ppt/tags/tag151.xml><?xml version="1.0" encoding="utf-8"?>
<p:tagLst xmlns:a="http://schemas.openxmlformats.org/drawingml/2006/main" xmlns:r="http://schemas.openxmlformats.org/officeDocument/2006/relationships" xmlns:p="http://schemas.openxmlformats.org/presentationml/2006/main">
  <p:tag name="NUM" val="2"/>
</p:tagLst>
</file>

<file path=ppt/tags/tag152.xml><?xml version="1.0" encoding="utf-8"?>
<p:tagLst xmlns:a="http://schemas.openxmlformats.org/drawingml/2006/main" xmlns:r="http://schemas.openxmlformats.org/officeDocument/2006/relationships" xmlns:p="http://schemas.openxmlformats.org/presentationml/2006/main">
  <p:tag name="NUM" val="3"/>
</p:tagLst>
</file>

<file path=ppt/tags/tag153.xml><?xml version="1.0" encoding="utf-8"?>
<p:tagLst xmlns:a="http://schemas.openxmlformats.org/drawingml/2006/main" xmlns:r="http://schemas.openxmlformats.org/officeDocument/2006/relationships" xmlns:p="http://schemas.openxmlformats.org/presentationml/2006/main">
  <p:tag name="NUM" val="4"/>
</p:tagLst>
</file>

<file path=ppt/tags/tag154.xml><?xml version="1.0" encoding="utf-8"?>
<p:tagLst xmlns:a="http://schemas.openxmlformats.org/drawingml/2006/main" xmlns:r="http://schemas.openxmlformats.org/officeDocument/2006/relationships" xmlns:p="http://schemas.openxmlformats.org/presentationml/2006/main">
  <p:tag name="NUM" val="1"/>
</p:tagLst>
</file>

<file path=ppt/tags/tag155.xml><?xml version="1.0" encoding="utf-8"?>
<p:tagLst xmlns:a="http://schemas.openxmlformats.org/drawingml/2006/main" xmlns:r="http://schemas.openxmlformats.org/officeDocument/2006/relationships" xmlns:p="http://schemas.openxmlformats.org/presentationml/2006/main">
  <p:tag name="NUM" val="2"/>
</p:tagLst>
</file>

<file path=ppt/tags/tag156.xml><?xml version="1.0" encoding="utf-8"?>
<p:tagLst xmlns:a="http://schemas.openxmlformats.org/drawingml/2006/main" xmlns:r="http://schemas.openxmlformats.org/officeDocument/2006/relationships" xmlns:p="http://schemas.openxmlformats.org/presentationml/2006/main">
  <p:tag name="NUM" val="3"/>
</p:tagLst>
</file>

<file path=ppt/tags/tag157.xml><?xml version="1.0" encoding="utf-8"?>
<p:tagLst xmlns:a="http://schemas.openxmlformats.org/drawingml/2006/main" xmlns:r="http://schemas.openxmlformats.org/officeDocument/2006/relationships" xmlns:p="http://schemas.openxmlformats.org/presentationml/2006/main">
  <p:tag name="NUM" val="4"/>
</p:tagLst>
</file>

<file path=ppt/tags/tag158.xml><?xml version="1.0" encoding="utf-8"?>
<p:tagLst xmlns:a="http://schemas.openxmlformats.org/drawingml/2006/main" xmlns:r="http://schemas.openxmlformats.org/officeDocument/2006/relationships" xmlns:p="http://schemas.openxmlformats.org/presentationml/2006/main">
  <p:tag name="NUM" val="5"/>
</p:tagLst>
</file>

<file path=ppt/tags/tag159.xml><?xml version="1.0" encoding="utf-8"?>
<p:tagLst xmlns:a="http://schemas.openxmlformats.org/drawingml/2006/main" xmlns:r="http://schemas.openxmlformats.org/officeDocument/2006/relationships" xmlns:p="http://schemas.openxmlformats.org/presentationml/2006/main">
  <p:tag name="NUM" val="6"/>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60.xml><?xml version="1.0" encoding="utf-8"?>
<p:tagLst xmlns:a="http://schemas.openxmlformats.org/drawingml/2006/main" xmlns:r="http://schemas.openxmlformats.org/officeDocument/2006/relationships" xmlns:p="http://schemas.openxmlformats.org/presentationml/2006/main">
  <p:tag name="NUM" val="7"/>
</p:tagLst>
</file>

<file path=ppt/tags/tag161.xml><?xml version="1.0" encoding="utf-8"?>
<p:tagLst xmlns:a="http://schemas.openxmlformats.org/drawingml/2006/main" xmlns:r="http://schemas.openxmlformats.org/officeDocument/2006/relationships" xmlns:p="http://schemas.openxmlformats.org/presentationml/2006/main">
  <p:tag name="NUM" val="8"/>
</p:tagLst>
</file>

<file path=ppt/tags/tag162.xml><?xml version="1.0" encoding="utf-8"?>
<p:tagLst xmlns:a="http://schemas.openxmlformats.org/drawingml/2006/main" xmlns:r="http://schemas.openxmlformats.org/officeDocument/2006/relationships" xmlns:p="http://schemas.openxmlformats.org/presentationml/2006/main">
  <p:tag name="NUM" val="9"/>
</p:tagLst>
</file>

<file path=ppt/tags/tag163.xml><?xml version="1.0" encoding="utf-8"?>
<p:tagLst xmlns:a="http://schemas.openxmlformats.org/drawingml/2006/main" xmlns:r="http://schemas.openxmlformats.org/officeDocument/2006/relationships" xmlns:p="http://schemas.openxmlformats.org/presentationml/2006/main">
  <p:tag name="NUM" val="1"/>
</p:tagLst>
</file>

<file path=ppt/tags/tag164.xml><?xml version="1.0" encoding="utf-8"?>
<p:tagLst xmlns:a="http://schemas.openxmlformats.org/drawingml/2006/main" xmlns:r="http://schemas.openxmlformats.org/officeDocument/2006/relationships" xmlns:p="http://schemas.openxmlformats.org/presentationml/2006/main">
  <p:tag name="NUM" val="2"/>
</p:tagLst>
</file>

<file path=ppt/tags/tag165.xml><?xml version="1.0" encoding="utf-8"?>
<p:tagLst xmlns:a="http://schemas.openxmlformats.org/drawingml/2006/main" xmlns:r="http://schemas.openxmlformats.org/officeDocument/2006/relationships" xmlns:p="http://schemas.openxmlformats.org/presentationml/2006/main">
  <p:tag name="NUM" val="3"/>
</p:tagLst>
</file>

<file path=ppt/tags/tag166.xml><?xml version="1.0" encoding="utf-8"?>
<p:tagLst xmlns:a="http://schemas.openxmlformats.org/drawingml/2006/main" xmlns:r="http://schemas.openxmlformats.org/officeDocument/2006/relationships" xmlns:p="http://schemas.openxmlformats.org/presentationml/2006/main">
  <p:tag name="NUM" val="4"/>
</p:tagLst>
</file>

<file path=ppt/tags/tag167.xml><?xml version="1.0" encoding="utf-8"?>
<p:tagLst xmlns:a="http://schemas.openxmlformats.org/drawingml/2006/main" xmlns:r="http://schemas.openxmlformats.org/officeDocument/2006/relationships" xmlns:p="http://schemas.openxmlformats.org/presentationml/2006/main">
  <p:tag name="NUM" val="5"/>
</p:tagLst>
</file>

<file path=ppt/tags/tag168.xml><?xml version="1.0" encoding="utf-8"?>
<p:tagLst xmlns:a="http://schemas.openxmlformats.org/drawingml/2006/main" xmlns:r="http://schemas.openxmlformats.org/officeDocument/2006/relationships" xmlns:p="http://schemas.openxmlformats.org/presentationml/2006/main">
  <p:tag name="NUM" val="6"/>
</p:tagLst>
</file>

<file path=ppt/tags/tag169.xml><?xml version="1.0" encoding="utf-8"?>
<p:tagLst xmlns:a="http://schemas.openxmlformats.org/drawingml/2006/main" xmlns:r="http://schemas.openxmlformats.org/officeDocument/2006/relationships" xmlns:p="http://schemas.openxmlformats.org/presentationml/2006/main">
  <p:tag name="NUM" val="7"/>
</p:tagLst>
</file>

<file path=ppt/tags/tag17.xml><?xml version="1.0" encoding="utf-8"?>
<p:tagLst xmlns:a="http://schemas.openxmlformats.org/drawingml/2006/main" xmlns:r="http://schemas.openxmlformats.org/officeDocument/2006/relationships" xmlns:p="http://schemas.openxmlformats.org/presentationml/2006/main">
  <p:tag name="NUM" val="10"/>
</p:tagLst>
</file>

<file path=ppt/tags/tag170.xml><?xml version="1.0" encoding="utf-8"?>
<p:tagLst xmlns:a="http://schemas.openxmlformats.org/drawingml/2006/main" xmlns:r="http://schemas.openxmlformats.org/officeDocument/2006/relationships" xmlns:p="http://schemas.openxmlformats.org/presentationml/2006/main">
  <p:tag name="NUM" val="8"/>
</p:tagLst>
</file>

<file path=ppt/tags/tag171.xml><?xml version="1.0" encoding="utf-8"?>
<p:tagLst xmlns:a="http://schemas.openxmlformats.org/drawingml/2006/main" xmlns:r="http://schemas.openxmlformats.org/officeDocument/2006/relationships" xmlns:p="http://schemas.openxmlformats.org/presentationml/2006/main">
  <p:tag name="NUM" val="9"/>
</p:tagLst>
</file>

<file path=ppt/tags/tag172.xml><?xml version="1.0" encoding="utf-8"?>
<p:tagLst xmlns:a="http://schemas.openxmlformats.org/drawingml/2006/main" xmlns:r="http://schemas.openxmlformats.org/officeDocument/2006/relationships" xmlns:p="http://schemas.openxmlformats.org/presentationml/2006/main">
  <p:tag name="NUM" val="10"/>
</p:tagLst>
</file>

<file path=ppt/tags/tag173.xml><?xml version="1.0" encoding="utf-8"?>
<p:tagLst xmlns:a="http://schemas.openxmlformats.org/drawingml/2006/main" xmlns:r="http://schemas.openxmlformats.org/officeDocument/2006/relationships" xmlns:p="http://schemas.openxmlformats.org/presentationml/2006/main">
  <p:tag name="NUM" val="11"/>
</p:tagLst>
</file>

<file path=ppt/tags/tag174.xml><?xml version="1.0" encoding="utf-8"?>
<p:tagLst xmlns:a="http://schemas.openxmlformats.org/drawingml/2006/main" xmlns:r="http://schemas.openxmlformats.org/officeDocument/2006/relationships" xmlns:p="http://schemas.openxmlformats.org/presentationml/2006/main">
  <p:tag name="NUM" val="1"/>
</p:tagLst>
</file>

<file path=ppt/tags/tag175.xml><?xml version="1.0" encoding="utf-8"?>
<p:tagLst xmlns:a="http://schemas.openxmlformats.org/drawingml/2006/main" xmlns:r="http://schemas.openxmlformats.org/officeDocument/2006/relationships" xmlns:p="http://schemas.openxmlformats.org/presentationml/2006/main">
  <p:tag name="NUM" val="2"/>
</p:tagLst>
</file>

<file path=ppt/tags/tag176.xml><?xml version="1.0" encoding="utf-8"?>
<p:tagLst xmlns:a="http://schemas.openxmlformats.org/drawingml/2006/main" xmlns:r="http://schemas.openxmlformats.org/officeDocument/2006/relationships" xmlns:p="http://schemas.openxmlformats.org/presentationml/2006/main">
  <p:tag name="NUM" val="1"/>
</p:tagLst>
</file>

<file path=ppt/tags/tag17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1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4"/>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14"/>
</p:tagLst>
</file>

<file path=ppt/tags/tag47.xml><?xml version="1.0" encoding="utf-8"?>
<p:tagLst xmlns:a="http://schemas.openxmlformats.org/drawingml/2006/main" xmlns:r="http://schemas.openxmlformats.org/officeDocument/2006/relationships" xmlns:p="http://schemas.openxmlformats.org/presentationml/2006/main">
  <p:tag name="NUM" val="15"/>
</p:tagLst>
</file>

<file path=ppt/tags/tag48.xml><?xml version="1.0" encoding="utf-8"?>
<p:tagLst xmlns:a="http://schemas.openxmlformats.org/drawingml/2006/main" xmlns:r="http://schemas.openxmlformats.org/officeDocument/2006/relationships" xmlns:p="http://schemas.openxmlformats.org/presentationml/2006/main">
  <p:tag name="NUM" val="16"/>
</p:tagLst>
</file>

<file path=ppt/tags/tag49.xml><?xml version="1.0" encoding="utf-8"?>
<p:tagLst xmlns:a="http://schemas.openxmlformats.org/drawingml/2006/main" xmlns:r="http://schemas.openxmlformats.org/officeDocument/2006/relationships" xmlns:p="http://schemas.openxmlformats.org/presentationml/2006/main">
  <p:tag name="NUM"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8"/>
</p:tagLst>
</file>

<file path=ppt/tags/tag51.xml><?xml version="1.0" encoding="utf-8"?>
<p:tagLst xmlns:a="http://schemas.openxmlformats.org/drawingml/2006/main" xmlns:r="http://schemas.openxmlformats.org/officeDocument/2006/relationships" xmlns:p="http://schemas.openxmlformats.org/presentationml/2006/main">
  <p:tag name="NUM" val="19"/>
</p:tagLst>
</file>

<file path=ppt/tags/tag52.xml><?xml version="1.0" encoding="utf-8"?>
<p:tagLst xmlns:a="http://schemas.openxmlformats.org/drawingml/2006/main" xmlns:r="http://schemas.openxmlformats.org/officeDocument/2006/relationships" xmlns:p="http://schemas.openxmlformats.org/presentationml/2006/main">
  <p:tag name="NUM" val="20"/>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5"/>
</p:tagLst>
</file>

<file path=ppt/tags/tag58.xml><?xml version="1.0" encoding="utf-8"?>
<p:tagLst xmlns:a="http://schemas.openxmlformats.org/drawingml/2006/main" xmlns:r="http://schemas.openxmlformats.org/officeDocument/2006/relationships" xmlns:p="http://schemas.openxmlformats.org/presentationml/2006/main">
  <p:tag name="NUM" val="6"/>
</p:tagLst>
</file>

<file path=ppt/tags/tag59.xml><?xml version="1.0" encoding="utf-8"?>
<p:tagLst xmlns:a="http://schemas.openxmlformats.org/drawingml/2006/main" xmlns:r="http://schemas.openxmlformats.org/officeDocument/2006/relationships" xmlns:p="http://schemas.openxmlformats.org/presentationml/2006/main">
  <p:tag name="NUM" val="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8"/>
</p:tagLst>
</file>

<file path=ppt/tags/tag61.xml><?xml version="1.0" encoding="utf-8"?>
<p:tagLst xmlns:a="http://schemas.openxmlformats.org/drawingml/2006/main" xmlns:r="http://schemas.openxmlformats.org/officeDocument/2006/relationships" xmlns:p="http://schemas.openxmlformats.org/presentationml/2006/main">
  <p:tag name="NUM" val="9"/>
</p:tagLst>
</file>

<file path=ppt/tags/tag62.xml><?xml version="1.0" encoding="utf-8"?>
<p:tagLst xmlns:a="http://schemas.openxmlformats.org/drawingml/2006/main" xmlns:r="http://schemas.openxmlformats.org/officeDocument/2006/relationships" xmlns:p="http://schemas.openxmlformats.org/presentationml/2006/main">
  <p:tag name="NUM" val="10"/>
</p:tagLst>
</file>

<file path=ppt/tags/tag63.xml><?xml version="1.0" encoding="utf-8"?>
<p:tagLst xmlns:a="http://schemas.openxmlformats.org/drawingml/2006/main" xmlns:r="http://schemas.openxmlformats.org/officeDocument/2006/relationships" xmlns:p="http://schemas.openxmlformats.org/presentationml/2006/main">
  <p:tag name="NUM" val="11"/>
</p:tagLst>
</file>

<file path=ppt/tags/tag64.xml><?xml version="1.0" encoding="utf-8"?>
<p:tagLst xmlns:a="http://schemas.openxmlformats.org/drawingml/2006/main" xmlns:r="http://schemas.openxmlformats.org/officeDocument/2006/relationships" xmlns:p="http://schemas.openxmlformats.org/presentationml/2006/main">
  <p:tag name="NUM" val="12"/>
</p:tagLst>
</file>

<file path=ppt/tags/tag65.xml><?xml version="1.0" encoding="utf-8"?>
<p:tagLst xmlns:a="http://schemas.openxmlformats.org/drawingml/2006/main" xmlns:r="http://schemas.openxmlformats.org/officeDocument/2006/relationships" xmlns:p="http://schemas.openxmlformats.org/presentationml/2006/main">
  <p:tag name="NUM" val="13"/>
</p:tagLst>
</file>

<file path=ppt/tags/tag66.xml><?xml version="1.0" encoding="utf-8"?>
<p:tagLst xmlns:a="http://schemas.openxmlformats.org/drawingml/2006/main" xmlns:r="http://schemas.openxmlformats.org/officeDocument/2006/relationships" xmlns:p="http://schemas.openxmlformats.org/presentationml/2006/main">
  <p:tag name="NUM" val="14"/>
</p:tagLst>
</file>

<file path=ppt/tags/tag67.xml><?xml version="1.0" encoding="utf-8"?>
<p:tagLst xmlns:a="http://schemas.openxmlformats.org/drawingml/2006/main" xmlns:r="http://schemas.openxmlformats.org/officeDocument/2006/relationships" xmlns:p="http://schemas.openxmlformats.org/presentationml/2006/main">
  <p:tag name="NUM" val="15"/>
</p:tagLst>
</file>

<file path=ppt/tags/tag68.xml><?xml version="1.0" encoding="utf-8"?>
<p:tagLst xmlns:a="http://schemas.openxmlformats.org/drawingml/2006/main" xmlns:r="http://schemas.openxmlformats.org/officeDocument/2006/relationships" xmlns:p="http://schemas.openxmlformats.org/presentationml/2006/main">
  <p:tag name="NUM" val="16"/>
</p:tagLst>
</file>

<file path=ppt/tags/tag69.xml><?xml version="1.0" encoding="utf-8"?>
<p:tagLst xmlns:a="http://schemas.openxmlformats.org/drawingml/2006/main" xmlns:r="http://schemas.openxmlformats.org/officeDocument/2006/relationships" xmlns:p="http://schemas.openxmlformats.org/presentationml/2006/main">
  <p:tag name="NUM" val="1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8"/>
</p:tagLst>
</file>

<file path=ppt/tags/tag71.xml><?xml version="1.0" encoding="utf-8"?>
<p:tagLst xmlns:a="http://schemas.openxmlformats.org/drawingml/2006/main" xmlns:r="http://schemas.openxmlformats.org/officeDocument/2006/relationships" xmlns:p="http://schemas.openxmlformats.org/presentationml/2006/main">
  <p:tag name="NUM" val="19"/>
</p:tagLst>
</file>

<file path=ppt/tags/tag72.xml><?xml version="1.0" encoding="utf-8"?>
<p:tagLst xmlns:a="http://schemas.openxmlformats.org/drawingml/2006/main" xmlns:r="http://schemas.openxmlformats.org/officeDocument/2006/relationships" xmlns:p="http://schemas.openxmlformats.org/presentationml/2006/main">
  <p:tag name="NUM" val="20"/>
</p:tagLst>
</file>

<file path=ppt/tags/tag73.xml><?xml version="1.0" encoding="utf-8"?>
<p:tagLst xmlns:a="http://schemas.openxmlformats.org/drawingml/2006/main" xmlns:r="http://schemas.openxmlformats.org/officeDocument/2006/relationships" xmlns:p="http://schemas.openxmlformats.org/presentationml/2006/main">
  <p:tag name="NUM" val="21"/>
</p:tagLst>
</file>

<file path=ppt/tags/tag74.xml><?xml version="1.0" encoding="utf-8"?>
<p:tagLst xmlns:a="http://schemas.openxmlformats.org/drawingml/2006/main" xmlns:r="http://schemas.openxmlformats.org/officeDocument/2006/relationships" xmlns:p="http://schemas.openxmlformats.org/presentationml/2006/main">
  <p:tag name="NUM" val="22"/>
</p:tagLst>
</file>

<file path=ppt/tags/tag75.xml><?xml version="1.0" encoding="utf-8"?>
<p:tagLst xmlns:a="http://schemas.openxmlformats.org/drawingml/2006/main" xmlns:r="http://schemas.openxmlformats.org/officeDocument/2006/relationships" xmlns:p="http://schemas.openxmlformats.org/presentationml/2006/main">
  <p:tag name="NUM" val="23"/>
</p:tagLst>
</file>

<file path=ppt/tags/tag76.xml><?xml version="1.0" encoding="utf-8"?>
<p:tagLst xmlns:a="http://schemas.openxmlformats.org/drawingml/2006/main" xmlns:r="http://schemas.openxmlformats.org/officeDocument/2006/relationships" xmlns:p="http://schemas.openxmlformats.org/presentationml/2006/main">
  <p:tag name="NUM" val="24"/>
</p:tagLst>
</file>

<file path=ppt/tags/tag77.xml><?xml version="1.0" encoding="utf-8"?>
<p:tagLst xmlns:a="http://schemas.openxmlformats.org/drawingml/2006/main" xmlns:r="http://schemas.openxmlformats.org/officeDocument/2006/relationships" xmlns:p="http://schemas.openxmlformats.org/presentationml/2006/main">
  <p:tag name="NUM" val="25"/>
</p:tagLst>
</file>

<file path=ppt/tags/tag78.xml><?xml version="1.0" encoding="utf-8"?>
<p:tagLst xmlns:a="http://schemas.openxmlformats.org/drawingml/2006/main" xmlns:r="http://schemas.openxmlformats.org/officeDocument/2006/relationships" xmlns:p="http://schemas.openxmlformats.org/presentationml/2006/main">
  <p:tag name="NUM" val="26"/>
</p:tagLst>
</file>

<file path=ppt/tags/tag79.xml><?xml version="1.0" encoding="utf-8"?>
<p:tagLst xmlns:a="http://schemas.openxmlformats.org/drawingml/2006/main" xmlns:r="http://schemas.openxmlformats.org/officeDocument/2006/relationships" xmlns:p="http://schemas.openxmlformats.org/presentationml/2006/main">
  <p:tag name="NUM" val="27"/>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28"/>
</p:tagLst>
</file>

<file path=ppt/tags/tag81.xml><?xml version="1.0" encoding="utf-8"?>
<p:tagLst xmlns:a="http://schemas.openxmlformats.org/drawingml/2006/main" xmlns:r="http://schemas.openxmlformats.org/officeDocument/2006/relationships" xmlns:p="http://schemas.openxmlformats.org/presentationml/2006/main">
  <p:tag name="NUM" val="29"/>
</p:tagLst>
</file>

<file path=ppt/tags/tag82.xml><?xml version="1.0" encoding="utf-8"?>
<p:tagLst xmlns:a="http://schemas.openxmlformats.org/drawingml/2006/main" xmlns:r="http://schemas.openxmlformats.org/officeDocument/2006/relationships" xmlns:p="http://schemas.openxmlformats.org/presentationml/2006/main">
  <p:tag name="NUM" val="30"/>
</p:tagLst>
</file>

<file path=ppt/tags/tag83.xml><?xml version="1.0" encoding="utf-8"?>
<p:tagLst xmlns:a="http://schemas.openxmlformats.org/drawingml/2006/main" xmlns:r="http://schemas.openxmlformats.org/officeDocument/2006/relationships" xmlns:p="http://schemas.openxmlformats.org/presentationml/2006/main">
  <p:tag name="NUM" val="31"/>
</p:tagLst>
</file>

<file path=ppt/tags/tag84.xml><?xml version="1.0" encoding="utf-8"?>
<p:tagLst xmlns:a="http://schemas.openxmlformats.org/drawingml/2006/main" xmlns:r="http://schemas.openxmlformats.org/officeDocument/2006/relationships" xmlns:p="http://schemas.openxmlformats.org/presentationml/2006/main">
  <p:tag name="NUM" val="32"/>
</p:tagLst>
</file>

<file path=ppt/tags/tag85.xml><?xml version="1.0" encoding="utf-8"?>
<p:tagLst xmlns:a="http://schemas.openxmlformats.org/drawingml/2006/main" xmlns:r="http://schemas.openxmlformats.org/officeDocument/2006/relationships" xmlns:p="http://schemas.openxmlformats.org/presentationml/2006/main">
  <p:tag name="NUM" val="33"/>
</p:tagLst>
</file>

<file path=ppt/tags/tag86.xml><?xml version="1.0" encoding="utf-8"?>
<p:tagLst xmlns:a="http://schemas.openxmlformats.org/drawingml/2006/main" xmlns:r="http://schemas.openxmlformats.org/officeDocument/2006/relationships" xmlns:p="http://schemas.openxmlformats.org/presentationml/2006/main">
  <p:tag name="NUM" val="34"/>
</p:tagLst>
</file>

<file path=ppt/tags/tag87.xml><?xml version="1.0" encoding="utf-8"?>
<p:tagLst xmlns:a="http://schemas.openxmlformats.org/drawingml/2006/main" xmlns:r="http://schemas.openxmlformats.org/officeDocument/2006/relationships" xmlns:p="http://schemas.openxmlformats.org/presentationml/2006/main">
  <p:tag name="NUM" val="35"/>
</p:tagLst>
</file>

<file path=ppt/tags/tag88.xml><?xml version="1.0" encoding="utf-8"?>
<p:tagLst xmlns:a="http://schemas.openxmlformats.org/drawingml/2006/main" xmlns:r="http://schemas.openxmlformats.org/officeDocument/2006/relationships" xmlns:p="http://schemas.openxmlformats.org/presentationml/2006/main">
  <p:tag name="NUM" val="36"/>
</p:tagLst>
</file>

<file path=ppt/tags/tag89.xml><?xml version="1.0" encoding="utf-8"?>
<p:tagLst xmlns:a="http://schemas.openxmlformats.org/drawingml/2006/main" xmlns:r="http://schemas.openxmlformats.org/officeDocument/2006/relationships" xmlns:p="http://schemas.openxmlformats.org/presentationml/2006/main">
  <p:tag name="NUM" val="37"/>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38"/>
</p:tagLst>
</file>

<file path=ppt/tags/tag91.xml><?xml version="1.0" encoding="utf-8"?>
<p:tagLst xmlns:a="http://schemas.openxmlformats.org/drawingml/2006/main" xmlns:r="http://schemas.openxmlformats.org/officeDocument/2006/relationships" xmlns:p="http://schemas.openxmlformats.org/presentationml/2006/main">
  <p:tag name="NUM" val="39"/>
</p:tagLst>
</file>

<file path=ppt/tags/tag92.xml><?xml version="1.0" encoding="utf-8"?>
<p:tagLst xmlns:a="http://schemas.openxmlformats.org/drawingml/2006/main" xmlns:r="http://schemas.openxmlformats.org/officeDocument/2006/relationships" xmlns:p="http://schemas.openxmlformats.org/presentationml/2006/main">
  <p:tag name="NUM" val="40"/>
</p:tagLst>
</file>

<file path=ppt/tags/tag93.xml><?xml version="1.0" encoding="utf-8"?>
<p:tagLst xmlns:a="http://schemas.openxmlformats.org/drawingml/2006/main" xmlns:r="http://schemas.openxmlformats.org/officeDocument/2006/relationships" xmlns:p="http://schemas.openxmlformats.org/presentationml/2006/main">
  <p:tag name="NUM" val="41"/>
</p:tagLst>
</file>

<file path=ppt/tags/tag94.xml><?xml version="1.0" encoding="utf-8"?>
<p:tagLst xmlns:a="http://schemas.openxmlformats.org/drawingml/2006/main" xmlns:r="http://schemas.openxmlformats.org/officeDocument/2006/relationships" xmlns:p="http://schemas.openxmlformats.org/presentationml/2006/main">
  <p:tag name="NUM" val="42"/>
</p:tagLst>
</file>

<file path=ppt/tags/tag95.xml><?xml version="1.0" encoding="utf-8"?>
<p:tagLst xmlns:a="http://schemas.openxmlformats.org/drawingml/2006/main" xmlns:r="http://schemas.openxmlformats.org/officeDocument/2006/relationships" xmlns:p="http://schemas.openxmlformats.org/presentationml/2006/main">
  <p:tag name="NUM" val="43"/>
</p:tagLst>
</file>

<file path=ppt/tags/tag96.xml><?xml version="1.0" encoding="utf-8"?>
<p:tagLst xmlns:a="http://schemas.openxmlformats.org/drawingml/2006/main" xmlns:r="http://schemas.openxmlformats.org/officeDocument/2006/relationships" xmlns:p="http://schemas.openxmlformats.org/presentationml/2006/main">
  <p:tag name="NUM" val="44"/>
</p:tagLst>
</file>

<file path=ppt/tags/tag97.xml><?xml version="1.0" encoding="utf-8"?>
<p:tagLst xmlns:a="http://schemas.openxmlformats.org/drawingml/2006/main" xmlns:r="http://schemas.openxmlformats.org/officeDocument/2006/relationships" xmlns:p="http://schemas.openxmlformats.org/presentationml/2006/main">
  <p:tag name="NUM" val="45"/>
</p:tagLst>
</file>

<file path=ppt/tags/tag98.xml><?xml version="1.0" encoding="utf-8"?>
<p:tagLst xmlns:a="http://schemas.openxmlformats.org/drawingml/2006/main" xmlns:r="http://schemas.openxmlformats.org/officeDocument/2006/relationships" xmlns:p="http://schemas.openxmlformats.org/presentationml/2006/main">
  <p:tag name="NUM" val="46"/>
</p:tagLst>
</file>

<file path=ppt/tags/tag99.xml><?xml version="1.0" encoding="utf-8"?>
<p:tagLst xmlns:a="http://schemas.openxmlformats.org/drawingml/2006/main" xmlns:r="http://schemas.openxmlformats.org/officeDocument/2006/relationships" xmlns:p="http://schemas.openxmlformats.org/presentationml/2006/main">
  <p:tag name="NUM" val="47"/>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444</TotalTime>
  <Words>2044</Words>
  <Application>Microsoft Office PowerPoint</Application>
  <PresentationFormat>Grand écran</PresentationFormat>
  <Paragraphs>200</Paragraphs>
  <Slides>23</Slides>
  <Notes>13</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3</vt:i4>
      </vt:variant>
    </vt:vector>
  </HeadingPairs>
  <TitlesOfParts>
    <vt:vector size="32" baseType="lpstr">
      <vt:lpstr>Arial</vt:lpstr>
      <vt:lpstr>Arial Rounded MT Bold</vt:lpstr>
      <vt:lpstr>Avenir Next LT Pro</vt:lpstr>
      <vt:lpstr>Calibri</vt:lpstr>
      <vt:lpstr>Calibri Light</vt:lpstr>
      <vt:lpstr>Courier New</vt:lpstr>
      <vt:lpstr>Georgia</vt:lpstr>
      <vt:lpstr>1_Office Theme</vt:lpstr>
      <vt:lpstr>think-cell Slide</vt:lpstr>
      <vt:lpstr>Gérer le changement en milieu de travail</vt:lpstr>
      <vt:lpstr>Comment utiliser ce document</vt:lpstr>
      <vt:lpstr>Objectifs de la présentation</vt:lpstr>
      <vt:lpstr>Le portefeuille d'espaces de bureaux du gouvernement du Canada</vt:lpstr>
      <vt:lpstr>Postes de travail non attribués par défaut : L'impact sur le portefeuille de locaux à bureaux du gouvernement du Canada </vt:lpstr>
      <vt:lpstr>Notre vision</vt:lpstr>
      <vt:lpstr>Qu'est-ce que cela signifie pour notre organisation?</vt:lpstr>
      <vt:lpstr>Échéancier</vt:lpstr>
      <vt:lpstr>Mon rôle en tant que parrain du projet d'optimisation</vt:lpstr>
      <vt:lpstr>Canevas de la stratégie de gestion du changement</vt:lpstr>
      <vt:lpstr>La boîte à outils en gestion du changement de votre gestionnaire</vt:lpstr>
      <vt:lpstr>Pourquoi les gestionnaires sont-ils si importants en période de changement? </vt:lpstr>
      <vt:lpstr>Votre rôle</vt:lpstr>
      <vt:lpstr>Les avantages de la communication lors d'un changement</vt:lpstr>
      <vt:lpstr>Vos employés veulent que vous leur parliez du changement</vt:lpstr>
      <vt:lpstr>Défendre et montrer l'exemple</vt:lpstr>
      <vt:lpstr>Accompagnement et gestion de la résistance</vt:lpstr>
      <vt:lpstr>Prendre en compte les besoins de nos employés - le modèle de la courbe de changement</vt:lpstr>
      <vt:lpstr>Faites preuve de compassion et de grâce</vt:lpstr>
      <vt:lpstr>Accompagner les employés dans leur courbe de changement</vt:lpstr>
      <vt:lpstr>Soutenir les employés</vt:lpstr>
      <vt:lpstr>S'équiper pour réussir</vt:lpstr>
      <vt:lpstr>Prochaines étap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97B61909C323D80A23F70DE12C5B1EF9</cp:keywords>
  <cp:lastModifiedBy>Jacob, Karen (SPAC/PSPC) (elle-la / she-her)</cp:lastModifiedBy>
  <cp:revision>550</cp:revision>
  <dcterms:created xsi:type="dcterms:W3CDTF">2018-01-23T15:59:12Z</dcterms:created>
  <dcterms:modified xsi:type="dcterms:W3CDTF">2024-11-13T21:5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16153304</vt:i4>
  </property>
  <property fmtid="{D5CDD505-2E9C-101B-9397-08002B2CF9AE}" pid="3" name="_NewReviewCycle">
    <vt:lpwstr/>
  </property>
  <property fmtid="{D5CDD505-2E9C-101B-9397-08002B2CF9AE}" pid="4" name="_EmailSubject">
    <vt:lpwstr>People Manager toolkit</vt:lpwstr>
  </property>
  <property fmtid="{D5CDD505-2E9C-101B-9397-08002B2CF9AE}" pid="5" name="_AuthorEmail">
    <vt:lpwstr>Chantal.Bemeur@tpsgc-pwgsc.gc.ca</vt:lpwstr>
  </property>
  <property fmtid="{D5CDD505-2E9C-101B-9397-08002B2CF9AE}" pid="6" name="_AuthorEmailDisplayName">
    <vt:lpwstr>Bemeur, Chantal (SPAC/PSPC)</vt:lpwstr>
  </property>
  <property fmtid="{D5CDD505-2E9C-101B-9397-08002B2CF9AE}" pid="7" name="MSIP_Label_834ed4f5-eae4-40c7-82be-b1cdf720a1b9_Enabled">
    <vt:lpwstr>true</vt:lpwstr>
  </property>
  <property fmtid="{D5CDD505-2E9C-101B-9397-08002B2CF9AE}" pid="8" name="MSIP_Label_834ed4f5-eae4-40c7-82be-b1cdf720a1b9_SetDate">
    <vt:lpwstr>2024-06-04T18:28:53Z</vt:lpwstr>
  </property>
  <property fmtid="{D5CDD505-2E9C-101B-9397-08002B2CF9AE}" pid="9" name="MSIP_Label_834ed4f5-eae4-40c7-82be-b1cdf720a1b9_Method">
    <vt:lpwstr>Standard</vt:lpwstr>
  </property>
  <property fmtid="{D5CDD505-2E9C-101B-9397-08002B2CF9AE}" pid="10" name="MSIP_Label_834ed4f5-eae4-40c7-82be-b1cdf720a1b9_Name">
    <vt:lpwstr>Unclassified - Non classifié</vt:lpwstr>
  </property>
  <property fmtid="{D5CDD505-2E9C-101B-9397-08002B2CF9AE}" pid="11" name="MSIP_Label_834ed4f5-eae4-40c7-82be-b1cdf720a1b9_SiteId">
    <vt:lpwstr>e0d54a3c-7bbe-4a64-9d46-f9f84a41c833</vt:lpwstr>
  </property>
  <property fmtid="{D5CDD505-2E9C-101B-9397-08002B2CF9AE}" pid="12" name="MSIP_Label_834ed4f5-eae4-40c7-82be-b1cdf720a1b9_ActionId">
    <vt:lpwstr>e0ecf9c5-6e01-49d0-8fcc-007768e537a2</vt:lpwstr>
  </property>
  <property fmtid="{D5CDD505-2E9C-101B-9397-08002B2CF9AE}" pid="13" name="MSIP_Label_834ed4f5-eae4-40c7-82be-b1cdf720a1b9_ContentBits">
    <vt:lpwstr>0</vt:lpwstr>
  </property>
</Properties>
</file>